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</p:sldMasterIdLst>
  <p:notesMasterIdLst>
    <p:notesMasterId r:id="rId11"/>
  </p:notesMasterIdLst>
  <p:sldIdLst>
    <p:sldId id="2134807194" r:id="rId2"/>
    <p:sldId id="2134807179" r:id="rId3"/>
    <p:sldId id="2134807185" r:id="rId4"/>
    <p:sldId id="2134807183" r:id="rId5"/>
    <p:sldId id="2134807186" r:id="rId6"/>
    <p:sldId id="2134807197" r:id="rId7"/>
    <p:sldId id="2134807199" r:id="rId8"/>
    <p:sldId id="2134807200" r:id="rId9"/>
    <p:sldId id="2134807180" r:id="rId1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итин Александр Валерьевич" initials="НАВ" lastIdx="1" clrIdx="0">
    <p:extLst>
      <p:ext uri="{19B8F6BF-5375-455C-9EA6-DF929625EA0E}">
        <p15:presenceInfo xmlns:p15="http://schemas.microsoft.com/office/powerpoint/2012/main" userId="S-1-5-21-725345543-1767777339-839522115-30312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F6C"/>
    <a:srgbClr val="FF9999"/>
    <a:srgbClr val="D3E6FF"/>
    <a:srgbClr val="F2F2F2"/>
    <a:srgbClr val="BFBFBF"/>
    <a:srgbClr val="00B05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5" autoAdjust="0"/>
    <p:restoredTop sz="95332" autoAdjust="0"/>
  </p:normalViewPr>
  <p:slideViewPr>
    <p:cSldViewPr snapToGrid="0">
      <p:cViewPr varScale="1">
        <p:scale>
          <a:sx n="75" d="100"/>
          <a:sy n="75" d="100"/>
        </p:scale>
        <p:origin x="9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D7B4B1-120B-AE4D-B95B-50EFC848A7F0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CFB31E-99BD-3A4E-8572-126C69D526F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1102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5FA15-4E1C-487D-9F1E-D5A3ED22506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797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0781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1081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9597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88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7020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7717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7014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03489D-E5E8-7B42-864A-3F126E7D8B9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4615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1" y="2606474"/>
            <a:ext cx="1600251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1" y="4220395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68" y="29843"/>
            <a:ext cx="4841758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5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70" y="29843"/>
            <a:ext cx="908229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12" y="1"/>
            <a:ext cx="1007294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3" y="5834312"/>
            <a:ext cx="4251529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5" y="6561349"/>
            <a:ext cx="648073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z="1051" smtClean="0">
                <a:solidFill>
                  <a:schemeClr val="bg1"/>
                </a:solidFill>
              </a:rPr>
              <a:pPr/>
              <a:t>‹#›</a:t>
            </a:fld>
            <a:endParaRPr lang="ru-RU" sz="1051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31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31" y="2394168"/>
            <a:ext cx="6124585" cy="233910"/>
          </a:xfrm>
        </p:spPr>
        <p:txBody>
          <a:bodyPr>
            <a:spAutoFit/>
          </a:bodyPr>
          <a:lstStyle>
            <a:lvl1pPr marL="180002" indent="-180002" algn="l" defTabSz="883661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1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61" rtl="0" eaLnBrk="0" fontAlgn="base" hangingPunct="0">
              <a:spcBef>
                <a:spcPts val="500"/>
              </a:spcBef>
              <a:spcAft>
                <a:spcPct val="0"/>
              </a:spcAft>
              <a:defRPr lang="ru-RU" sz="1801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61" rtl="0" eaLnBrk="0" fontAlgn="base" hangingPunct="0">
              <a:spcBef>
                <a:spcPts val="500"/>
              </a:spcBef>
              <a:spcAft>
                <a:spcPct val="0"/>
              </a:spcAft>
              <a:defRPr lang="ru-RU" sz="1801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61" rtl="0" eaLnBrk="0" fontAlgn="base" hangingPunct="0">
              <a:spcBef>
                <a:spcPts val="500"/>
              </a:spcBef>
              <a:spcAft>
                <a:spcPct val="0"/>
              </a:spcAft>
              <a:defRPr lang="ru-RU" sz="1801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61" rtl="0" eaLnBrk="0" fontAlgn="base" hangingPunct="0">
              <a:spcBef>
                <a:spcPts val="500"/>
              </a:spcBef>
              <a:spcAft>
                <a:spcPct val="0"/>
              </a:spcAft>
              <a:defRPr lang="ru-RU" sz="180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5622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80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3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3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50056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80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3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606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6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6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60404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6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6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6639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40277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1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7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50798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1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7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6040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6" y="1089026"/>
            <a:ext cx="2782053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7" y="1089026"/>
            <a:ext cx="2782053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9" y="1089026"/>
            <a:ext cx="2782053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2" y="1089026"/>
            <a:ext cx="2782053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28700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2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4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9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38828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2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01705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1" y="2606474"/>
            <a:ext cx="1600251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1" y="4220395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68" y="29843"/>
            <a:ext cx="4841758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5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9085AE4E-EB34-48C8-AEB3-FB178CC5D652}"/>
              </a:ext>
            </a:extLst>
          </p:cNvPr>
          <p:cNvSpPr/>
          <p:nvPr userDrawn="1"/>
        </p:nvSpPr>
        <p:spPr>
          <a:xfrm>
            <a:off x="6442012" y="1"/>
            <a:ext cx="1007294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1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0457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24697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2" y="0"/>
            <a:ext cx="7294578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7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2553606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7" y="5553610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7" y="5892233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" name="Graphic 17">
            <a:extLst>
              <a:ext uri="{FF2B5EF4-FFF2-40B4-BE49-F238E27FC236}">
                <a16:creationId xmlns:a16="http://schemas.microsoft.com/office/drawing/2014/main" id="{21860EE9-1D54-4890-BA25-82EEE1F55E4A}"/>
              </a:ext>
            </a:extLst>
          </p:cNvPr>
          <p:cNvSpPr/>
          <p:nvPr/>
        </p:nvSpPr>
        <p:spPr>
          <a:xfrm>
            <a:off x="426122" y="5552208"/>
            <a:ext cx="186948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940A7D6B-F4CD-4576-86E4-E1C99C335543}"/>
              </a:ext>
            </a:extLst>
          </p:cNvPr>
          <p:cNvGrpSpPr/>
          <p:nvPr/>
        </p:nvGrpSpPr>
        <p:grpSpPr>
          <a:xfrm>
            <a:off x="423153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C17ABBDE-9098-4E13-93C4-6EA0D26307C6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66A9EE89-8C3A-423A-ABDC-D8800BA31A9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735B3712-F974-4981-9980-5F3243B30584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1095F3B0-1BD1-4667-87B5-A35C4D41C253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9C5A9DE7-A60C-4196-AC48-B355C45E6A0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2F4691E6-C1B7-4BC9-B963-6B9B0123D370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grpSp>
        <p:nvGrpSpPr>
          <p:cNvPr id="20" name="Рисунок 3">
            <a:extLst>
              <a:ext uri="{FF2B5EF4-FFF2-40B4-BE49-F238E27FC236}">
                <a16:creationId xmlns:a16="http://schemas.microsoft.com/office/drawing/2014/main" id="{2F2F4649-E113-46A2-A922-0AB402B79B7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A6F896AC-7B12-408D-B367-3BC24C6C616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FB8E6E6E-A511-486E-97E5-EFDF6C0A3497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</p:spTree>
    <p:extLst>
      <p:ext uri="{BB962C8B-B14F-4D97-AF65-F5344CB8AC3E}">
        <p14:creationId xmlns:p14="http://schemas.microsoft.com/office/powerpoint/2010/main" val="211363727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2" y="0"/>
            <a:ext cx="7294578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1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3" y="4706448"/>
            <a:ext cx="640802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8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801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7" y="4280092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1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1" y="2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30" y="2553606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7" y="5553610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7" y="5893318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5" name="Graphic 17">
            <a:extLst>
              <a:ext uri="{FF2B5EF4-FFF2-40B4-BE49-F238E27FC236}">
                <a16:creationId xmlns:a16="http://schemas.microsoft.com/office/drawing/2014/main" id="{2C9AA463-E793-494A-8206-B6BED4BC2879}"/>
              </a:ext>
            </a:extLst>
          </p:cNvPr>
          <p:cNvSpPr/>
          <p:nvPr/>
        </p:nvSpPr>
        <p:spPr>
          <a:xfrm>
            <a:off x="426122" y="5552208"/>
            <a:ext cx="186948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grpSp>
        <p:nvGrpSpPr>
          <p:cNvPr id="6" name="Graphic 5">
            <a:extLst>
              <a:ext uri="{FF2B5EF4-FFF2-40B4-BE49-F238E27FC236}">
                <a16:creationId xmlns:a16="http://schemas.microsoft.com/office/drawing/2014/main" id="{67FF1BB9-87BE-4A1D-B320-4EF231DE6EFB}"/>
              </a:ext>
            </a:extLst>
          </p:cNvPr>
          <p:cNvGrpSpPr/>
          <p:nvPr/>
        </p:nvGrpSpPr>
        <p:grpSpPr>
          <a:xfrm>
            <a:off x="423153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23D8B1EB-8596-431D-8D9A-1E4B16C050B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0E54E79B-34B5-4ACE-9864-B09062E0F84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AFF14E2A-6863-4FC2-88BF-0D7CD8AB46D3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6B25209E-9B8B-4CC4-A8C2-9BA9F90E7A15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47414B1A-F017-42D7-BA9D-3977DF66EB44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E60B1359-FD5A-4C91-BF42-2AAD0AC0E2D2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grpSp>
        <p:nvGrpSpPr>
          <p:cNvPr id="30" name="Рисунок 3">
            <a:extLst>
              <a:ext uri="{FF2B5EF4-FFF2-40B4-BE49-F238E27FC236}">
                <a16:creationId xmlns:a16="http://schemas.microsoft.com/office/drawing/2014/main" id="{796F7482-ACAC-4331-82B9-4FCDE6CEA818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B05820C6-6480-429C-ADB3-B257A34A332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3D8A3611-8CA8-47F8-B062-EAB6C9F14EE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7" y="0"/>
            <a:ext cx="4897424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48945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2553606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7" y="5553610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7" y="5893318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6" y="942402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5" y="2"/>
            <a:ext cx="1874018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9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5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5" y="3840694"/>
            <a:ext cx="1874018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tx2">
                  <a:alpha val="0"/>
                </a:schemeClr>
              </a:gs>
              <a:gs pos="67200">
                <a:schemeClr val="tx2">
                  <a:alpha val="26000"/>
                </a:schemeClr>
              </a:gs>
              <a:gs pos="100000">
                <a:schemeClr val="tx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61" y="2990705"/>
            <a:ext cx="849740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7" y="1450715"/>
            <a:ext cx="3072828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5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4" y="2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2" y="2"/>
            <a:ext cx="2133566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Graphic 17">
            <a:extLst>
              <a:ext uri="{FF2B5EF4-FFF2-40B4-BE49-F238E27FC236}">
                <a16:creationId xmlns:a16="http://schemas.microsoft.com/office/drawing/2014/main" id="{59EEFF78-1504-4AE7-B6D5-04ACF1E9B391}"/>
              </a:ext>
            </a:extLst>
          </p:cNvPr>
          <p:cNvSpPr/>
          <p:nvPr/>
        </p:nvSpPr>
        <p:spPr>
          <a:xfrm>
            <a:off x="426122" y="5552208"/>
            <a:ext cx="186948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0000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5514F9D7-2A08-456F-9B5F-67F89D711017}"/>
              </a:ext>
            </a:extLst>
          </p:cNvPr>
          <p:cNvGrpSpPr/>
          <p:nvPr/>
        </p:nvGrpSpPr>
        <p:grpSpPr>
          <a:xfrm>
            <a:off x="423153" y="5898188"/>
            <a:ext cx="192624" cy="192624"/>
            <a:chOff x="423152" y="5898188"/>
            <a:chExt cx="192624" cy="192624"/>
          </a:xfrm>
          <a:solidFill>
            <a:srgbClr val="FF0000"/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92534BBA-4A84-4D3F-AF56-65A58239D39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6D856C1F-4F92-42C6-818D-EEE7FD0BB2DA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7FE31231-E789-403C-9695-EAA16BCA6977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BB6D01F6-C28C-4B9E-9D35-26DF830359F2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4174E61F-94A9-49FA-8ADF-A592EDF2D0D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3E7D2FFF-8B6A-4AB9-913D-1BA7ACDA9417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id="{95E10814-6BCB-4E14-8196-789EF29F61ED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F56024D7-85D0-4DF3-8542-B14975A64756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C7BA2C11-DFF4-4CBE-BE71-F952138F0C2F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</p:spTree>
    <p:extLst>
      <p:ext uri="{BB962C8B-B14F-4D97-AF65-F5344CB8AC3E}">
        <p14:creationId xmlns:p14="http://schemas.microsoft.com/office/powerpoint/2010/main" val="2154605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круги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2888380"/>
            <a:ext cx="6176427" cy="1930016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1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2" name="Рисунок 3">
            <a:extLst>
              <a:ext uri="{FF2B5EF4-FFF2-40B4-BE49-F238E27FC236}">
                <a16:creationId xmlns:a16="http://schemas.microsoft.com/office/drawing/2014/main" id="{4BB27A82-7F22-4222-A22D-FA7B60DB0BD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E4317050-CCF5-4410-8430-E8859C5CCC40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7607EDB4-7BF6-4939-9872-037096793901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</p:spTree>
    <p:extLst>
      <p:ext uri="{BB962C8B-B14F-4D97-AF65-F5344CB8AC3E}">
        <p14:creationId xmlns:p14="http://schemas.microsoft.com/office/powerpoint/2010/main" val="7096143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2888380"/>
            <a:ext cx="6176427" cy="1930016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1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DB8C6F4E-80AE-4CB3-82F3-E0629F85E98A}"/>
              </a:ext>
            </a:extLst>
          </p:cNvPr>
          <p:cNvSpPr/>
          <p:nvPr userDrawn="1"/>
        </p:nvSpPr>
        <p:spPr>
          <a:xfrm>
            <a:off x="11683686" y="942402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CB3A444A-E5F0-4FFD-9DC1-CD7FB326DAB6}"/>
              </a:ext>
            </a:extLst>
          </p:cNvPr>
          <p:cNvSpPr/>
          <p:nvPr userDrawn="1"/>
        </p:nvSpPr>
        <p:spPr>
          <a:xfrm>
            <a:off x="10317985" y="2"/>
            <a:ext cx="1874018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9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7836FD41-14BD-4C48-9332-1ED0825F86BF}"/>
              </a:ext>
            </a:extLst>
          </p:cNvPr>
          <p:cNvSpPr/>
          <p:nvPr userDrawn="1"/>
        </p:nvSpPr>
        <p:spPr>
          <a:xfrm>
            <a:off x="8604597" y="3840695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18EA802B-A64D-4D87-B785-A9C1BBD630BE}"/>
              </a:ext>
            </a:extLst>
          </p:cNvPr>
          <p:cNvSpPr/>
          <p:nvPr userDrawn="1"/>
        </p:nvSpPr>
        <p:spPr>
          <a:xfrm>
            <a:off x="10317985" y="3840694"/>
            <a:ext cx="1874018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8565576C-67AB-4679-AB14-104440A43FD3}"/>
              </a:ext>
            </a:extLst>
          </p:cNvPr>
          <p:cNvSpPr/>
          <p:nvPr userDrawn="1"/>
        </p:nvSpPr>
        <p:spPr>
          <a:xfrm>
            <a:off x="11342261" y="2990705"/>
            <a:ext cx="849740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DF96CDC5-1835-4B1A-B51F-B61DD3293AA9}"/>
              </a:ext>
            </a:extLst>
          </p:cNvPr>
          <p:cNvSpPr/>
          <p:nvPr userDrawn="1"/>
        </p:nvSpPr>
        <p:spPr>
          <a:xfrm>
            <a:off x="8610857" y="1450715"/>
            <a:ext cx="3072828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A9776F79-468B-44C6-8B11-6209C717CA67}"/>
              </a:ext>
            </a:extLst>
          </p:cNvPr>
          <p:cNvSpPr/>
          <p:nvPr userDrawn="1"/>
        </p:nvSpPr>
        <p:spPr>
          <a:xfrm>
            <a:off x="9957781" y="1606475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7C1924A7-5BBA-4DD5-9D00-1D7C79A565F0}"/>
              </a:ext>
            </a:extLst>
          </p:cNvPr>
          <p:cNvSpPr/>
          <p:nvPr userDrawn="1"/>
        </p:nvSpPr>
        <p:spPr>
          <a:xfrm>
            <a:off x="8985624" y="2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44E97757-9271-4211-9749-1E9D34CAD44F}"/>
              </a:ext>
            </a:extLst>
          </p:cNvPr>
          <p:cNvSpPr/>
          <p:nvPr userDrawn="1"/>
        </p:nvSpPr>
        <p:spPr>
          <a:xfrm>
            <a:off x="7676102" y="2"/>
            <a:ext cx="2133566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id="{CFEA4D1A-3F71-4A32-A7A8-BA91FFD16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5F7F1DF6-FF97-47F0-8B08-D9A9E646B9D4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3B31A0BA-E63C-4C68-B9B2-5CE3C54C7953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</p:spTree>
    <p:extLst>
      <p:ext uri="{BB962C8B-B14F-4D97-AF65-F5344CB8AC3E}">
        <p14:creationId xmlns:p14="http://schemas.microsoft.com/office/powerpoint/2010/main" val="12203322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2553605"/>
            <a:ext cx="6894453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7" y="4544580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7" y="4884288"/>
            <a:ext cx="2574924" cy="204800"/>
          </a:xfrm>
        </p:spPr>
        <p:txBody>
          <a:bodyPr anchor="ctr">
            <a:spAutoFit/>
          </a:bodyPr>
          <a:lstStyle>
            <a:lvl1pPr>
              <a:buNone/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90" marR="0" lvl="0" indent="-33119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6" name="Graphic 17">
            <a:extLst>
              <a:ext uri="{FF2B5EF4-FFF2-40B4-BE49-F238E27FC236}">
                <a16:creationId xmlns:a16="http://schemas.microsoft.com/office/drawing/2014/main" id="{67E33C7A-8A8F-4E25-8819-7C6CF003FD43}"/>
              </a:ext>
            </a:extLst>
          </p:cNvPr>
          <p:cNvSpPr/>
          <p:nvPr/>
        </p:nvSpPr>
        <p:spPr>
          <a:xfrm>
            <a:off x="426122" y="4553400"/>
            <a:ext cx="186948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grpSp>
        <p:nvGrpSpPr>
          <p:cNvPr id="17" name="Graphic 5">
            <a:extLst>
              <a:ext uri="{FF2B5EF4-FFF2-40B4-BE49-F238E27FC236}">
                <a16:creationId xmlns:a16="http://schemas.microsoft.com/office/drawing/2014/main" id="{C9A8D45A-D37B-427B-97A6-183FFB1D0441}"/>
              </a:ext>
            </a:extLst>
          </p:cNvPr>
          <p:cNvGrpSpPr/>
          <p:nvPr/>
        </p:nvGrpSpPr>
        <p:grpSpPr>
          <a:xfrm>
            <a:off x="423153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8E031E6C-12E6-45FA-BDE0-D6839526AF2F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9B0ECB36-E663-4C7D-955E-7F36BA6A9466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A236534E-4284-4B52-9411-765C71112A20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EDC830DE-9C9F-4DA6-B305-ABB92B679232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D2B539FE-4D14-41C5-AA98-69B20130DC16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B8FC65B9-23ED-4CAB-8671-D246BD6E31F7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id="{59AA230A-D536-48A4-A32C-64AF315C7753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26F4950B-7B67-43CE-A3F3-B0D1BC9D29EE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E0E34D99-3388-4749-929E-06366D402E7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80954DCA-50B7-425B-AD94-499C9D0C5683}"/>
              </a:ext>
            </a:extLst>
          </p:cNvPr>
          <p:cNvGrpSpPr/>
          <p:nvPr userDrawn="1"/>
        </p:nvGrpSpPr>
        <p:grpSpPr>
          <a:xfrm>
            <a:off x="7717484" y="0"/>
            <a:ext cx="4516612" cy="6858000"/>
            <a:chOff x="7717485" y="0"/>
            <a:chExt cx="4516612" cy="6858000"/>
          </a:xfrm>
        </p:grpSpPr>
        <p:sp>
          <p:nvSpPr>
            <p:cNvPr id="41" name="Полилиния: фигура 15">
              <a:extLst>
                <a:ext uri="{FF2B5EF4-FFF2-40B4-BE49-F238E27FC236}">
                  <a16:creationId xmlns:a16="http://schemas.microsoft.com/office/drawing/2014/main" id="{1F9D04FD-05EC-421E-8EBE-BC24460CAF02}"/>
                </a:ext>
              </a:extLst>
            </p:cNvPr>
            <p:cNvSpPr/>
            <p:nvPr/>
          </p:nvSpPr>
          <p:spPr>
            <a:xfrm>
              <a:off x="11107241" y="1262752"/>
              <a:ext cx="1084759" cy="1084759"/>
            </a:xfrm>
            <a:custGeom>
              <a:avLst/>
              <a:gdLst>
                <a:gd name="connsiteX0" fmla="*/ 1084759 w 1084759"/>
                <a:gd name="connsiteY0" fmla="*/ 0 h 1084759"/>
                <a:gd name="connsiteX1" fmla="*/ 1084759 w 1084759"/>
                <a:gd name="connsiteY1" fmla="*/ 751748 h 1084759"/>
                <a:gd name="connsiteX2" fmla="*/ 751748 w 1084759"/>
                <a:gd name="connsiteY2" fmla="*/ 1084759 h 1084759"/>
                <a:gd name="connsiteX3" fmla="*/ 0 w 1084759"/>
                <a:gd name="connsiteY3" fmla="*/ 1084759 h 1084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759" h="1084759">
                  <a:moveTo>
                    <a:pt x="1084759" y="0"/>
                  </a:moveTo>
                  <a:lnTo>
                    <a:pt x="1084759" y="751748"/>
                  </a:lnTo>
                  <a:lnTo>
                    <a:pt x="751748" y="1084759"/>
                  </a:lnTo>
                  <a:lnTo>
                    <a:pt x="0" y="1084759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1" b="0" i="0" u="none" strike="noStrike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Полилиния: фигура 16">
              <a:extLst>
                <a:ext uri="{FF2B5EF4-FFF2-40B4-BE49-F238E27FC236}">
                  <a16:creationId xmlns:a16="http://schemas.microsoft.com/office/drawing/2014/main" id="{EB3AA24E-9782-494D-927F-25ABDA14ECB0}"/>
                </a:ext>
              </a:extLst>
            </p:cNvPr>
            <p:cNvSpPr/>
            <p:nvPr/>
          </p:nvSpPr>
          <p:spPr>
            <a:xfrm>
              <a:off x="9603745" y="0"/>
              <a:ext cx="2588255" cy="2347511"/>
            </a:xfrm>
            <a:custGeom>
              <a:avLst/>
              <a:gdLst>
                <a:gd name="connsiteX0" fmla="*/ 2347511 w 2588255"/>
                <a:gd name="connsiteY0" fmla="*/ 0 h 2347511"/>
                <a:gd name="connsiteX1" fmla="*/ 2588255 w 2588255"/>
                <a:gd name="connsiteY1" fmla="*/ 0 h 2347511"/>
                <a:gd name="connsiteX2" fmla="*/ 2588255 w 2588255"/>
                <a:gd name="connsiteY2" fmla="*/ 511004 h 2347511"/>
                <a:gd name="connsiteX3" fmla="*/ 751748 w 2588255"/>
                <a:gd name="connsiteY3" fmla="*/ 2347511 h 2347511"/>
                <a:gd name="connsiteX4" fmla="*/ 0 w 2588255"/>
                <a:gd name="connsiteY4" fmla="*/ 2347511 h 234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8255" h="2347511">
                  <a:moveTo>
                    <a:pt x="2347511" y="0"/>
                  </a:moveTo>
                  <a:lnTo>
                    <a:pt x="2588255" y="0"/>
                  </a:lnTo>
                  <a:lnTo>
                    <a:pt x="2588255" y="511004"/>
                  </a:lnTo>
                  <a:lnTo>
                    <a:pt x="751748" y="2347511"/>
                  </a:lnTo>
                  <a:lnTo>
                    <a:pt x="0" y="2347511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17">
              <a:extLst>
                <a:ext uri="{FF2B5EF4-FFF2-40B4-BE49-F238E27FC236}">
                  <a16:creationId xmlns:a16="http://schemas.microsoft.com/office/drawing/2014/main" id="{6DF5A6D3-B885-4CCF-B592-92A4F3DD1482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Полилиния: фигура 18">
              <a:extLst>
                <a:ext uri="{FF2B5EF4-FFF2-40B4-BE49-F238E27FC236}">
                  <a16:creationId xmlns:a16="http://schemas.microsoft.com/office/drawing/2014/main" id="{3FB29626-E51C-4D87-B331-632573688CF5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Полилиния: фигура 19">
              <a:extLst>
                <a:ext uri="{FF2B5EF4-FFF2-40B4-BE49-F238E27FC236}">
                  <a16:creationId xmlns:a16="http://schemas.microsoft.com/office/drawing/2014/main" id="{062E36A0-B7D5-477A-82B1-D58136CDD873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Полилиния: фигура 20">
              <a:extLst>
                <a:ext uri="{FF2B5EF4-FFF2-40B4-BE49-F238E27FC236}">
                  <a16:creationId xmlns:a16="http://schemas.microsoft.com/office/drawing/2014/main" id="{139D6965-C597-435F-B6D4-25846A927C8B}"/>
                </a:ext>
              </a:extLst>
            </p:cNvPr>
            <p:cNvSpPr/>
            <p:nvPr/>
          </p:nvSpPr>
          <p:spPr>
            <a:xfrm>
              <a:off x="10731367" y="3517570"/>
              <a:ext cx="1460633" cy="1461058"/>
            </a:xfrm>
            <a:custGeom>
              <a:avLst/>
              <a:gdLst>
                <a:gd name="connsiteX0" fmla="*/ 1460633 w 1460633"/>
                <a:gd name="connsiteY0" fmla="*/ 0 h 1461058"/>
                <a:gd name="connsiteX1" fmla="*/ 1460633 w 1460633"/>
                <a:gd name="connsiteY1" fmla="*/ 751967 h 1461058"/>
                <a:gd name="connsiteX2" fmla="*/ 751748 w 1460633"/>
                <a:gd name="connsiteY2" fmla="*/ 1461058 h 1461058"/>
                <a:gd name="connsiteX3" fmla="*/ 0 w 1460633"/>
                <a:gd name="connsiteY3" fmla="*/ 1461058 h 14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633" h="1461058">
                  <a:moveTo>
                    <a:pt x="1460633" y="0"/>
                  </a:moveTo>
                  <a:lnTo>
                    <a:pt x="1460633" y="751967"/>
                  </a:lnTo>
                  <a:lnTo>
                    <a:pt x="751748" y="1461058"/>
                  </a:lnTo>
                  <a:lnTo>
                    <a:pt x="0" y="1461058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Полилиния: фигура 21">
              <a:extLst>
                <a:ext uri="{FF2B5EF4-FFF2-40B4-BE49-F238E27FC236}">
                  <a16:creationId xmlns:a16="http://schemas.microsoft.com/office/drawing/2014/main" id="{A17D6506-F3EA-4216-99E2-EF7BF846F5D4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Полилиния: фигура 22">
              <a:extLst>
                <a:ext uri="{FF2B5EF4-FFF2-40B4-BE49-F238E27FC236}">
                  <a16:creationId xmlns:a16="http://schemas.microsoft.com/office/drawing/2014/main" id="{47711E85-B407-4B48-89DE-FB283F80F9EF}"/>
                </a:ext>
              </a:extLst>
            </p:cNvPr>
            <p:cNvSpPr/>
            <p:nvPr/>
          </p:nvSpPr>
          <p:spPr>
            <a:xfrm>
              <a:off x="9235774" y="2352272"/>
              <a:ext cx="2958606" cy="2631119"/>
            </a:xfrm>
            <a:custGeom>
              <a:avLst/>
              <a:gdLst>
                <a:gd name="connsiteX0" fmla="*/ 2631119 w 2984800"/>
                <a:gd name="connsiteY0" fmla="*/ 0 h 2631119"/>
                <a:gd name="connsiteX1" fmla="*/ 2984800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93531"/>
                <a:gd name="connsiteY0" fmla="*/ 0 h 2631119"/>
                <a:gd name="connsiteX1" fmla="*/ 2991943 w 2993531"/>
                <a:gd name="connsiteY1" fmla="*/ 0 h 2631119"/>
                <a:gd name="connsiteX2" fmla="*/ 2956225 w 2993531"/>
                <a:gd name="connsiteY2" fmla="*/ 429023 h 2631119"/>
                <a:gd name="connsiteX3" fmla="*/ 751748 w 2993531"/>
                <a:gd name="connsiteY3" fmla="*/ 2631119 h 2631119"/>
                <a:gd name="connsiteX4" fmla="*/ 0 w 2993531"/>
                <a:gd name="connsiteY4" fmla="*/ 2631119 h 2631119"/>
                <a:gd name="connsiteX5" fmla="*/ 2631119 w 2993531"/>
                <a:gd name="connsiteY5" fmla="*/ 0 h 2631119"/>
                <a:gd name="connsiteX0" fmla="*/ 2631119 w 2991943"/>
                <a:gd name="connsiteY0" fmla="*/ 0 h 2631119"/>
                <a:gd name="connsiteX1" fmla="*/ 2991943 w 2991943"/>
                <a:gd name="connsiteY1" fmla="*/ 0 h 2631119"/>
                <a:gd name="connsiteX2" fmla="*/ 2956225 w 2991943"/>
                <a:gd name="connsiteY2" fmla="*/ 429023 h 2631119"/>
                <a:gd name="connsiteX3" fmla="*/ 751748 w 2991943"/>
                <a:gd name="connsiteY3" fmla="*/ 2631119 h 2631119"/>
                <a:gd name="connsiteX4" fmla="*/ 0 w 2991943"/>
                <a:gd name="connsiteY4" fmla="*/ 2631119 h 2631119"/>
                <a:gd name="connsiteX5" fmla="*/ 2631119 w 2991943"/>
                <a:gd name="connsiteY5" fmla="*/ 0 h 2631119"/>
                <a:gd name="connsiteX0" fmla="*/ 2631119 w 2958606"/>
                <a:gd name="connsiteY0" fmla="*/ 0 h 2631119"/>
                <a:gd name="connsiteX1" fmla="*/ 2958606 w 2958606"/>
                <a:gd name="connsiteY1" fmla="*/ 0 h 2631119"/>
                <a:gd name="connsiteX2" fmla="*/ 2956225 w 2958606"/>
                <a:gd name="connsiteY2" fmla="*/ 429023 h 2631119"/>
                <a:gd name="connsiteX3" fmla="*/ 751748 w 2958606"/>
                <a:gd name="connsiteY3" fmla="*/ 2631119 h 2631119"/>
                <a:gd name="connsiteX4" fmla="*/ 0 w 2958606"/>
                <a:gd name="connsiteY4" fmla="*/ 2631119 h 2631119"/>
                <a:gd name="connsiteX5" fmla="*/ 2631119 w 2958606"/>
                <a:gd name="connsiteY5" fmla="*/ 0 h 263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8606" h="2631119">
                  <a:moveTo>
                    <a:pt x="2631119" y="0"/>
                  </a:moveTo>
                  <a:lnTo>
                    <a:pt x="2958606" y="0"/>
                  </a:lnTo>
                  <a:cubicBezTo>
                    <a:pt x="2957812" y="143008"/>
                    <a:pt x="2957019" y="286015"/>
                    <a:pt x="2956225" y="429023"/>
                  </a:cubicBezTo>
                  <a:lnTo>
                    <a:pt x="751748" y="2631119"/>
                  </a:lnTo>
                  <a:lnTo>
                    <a:pt x="0" y="2631119"/>
                  </a:lnTo>
                  <a:lnTo>
                    <a:pt x="2631119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74033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2553605"/>
            <a:ext cx="6894453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7" y="4544580"/>
            <a:ext cx="2574924" cy="204800"/>
          </a:xfrm>
        </p:spPr>
        <p:txBody>
          <a:bodyPr anchor="ctr">
            <a:spAutoFit/>
          </a:bodyPr>
          <a:lstStyle>
            <a:lvl1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7" y="4884288"/>
            <a:ext cx="2574924" cy="204800"/>
          </a:xfrm>
        </p:spPr>
        <p:txBody>
          <a:bodyPr anchor="ctr">
            <a:spAutoFit/>
          </a:bodyPr>
          <a:lstStyle>
            <a:lvl1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1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9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1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7" name="Graphic 17">
            <a:extLst>
              <a:ext uri="{FF2B5EF4-FFF2-40B4-BE49-F238E27FC236}">
                <a16:creationId xmlns:a16="http://schemas.microsoft.com/office/drawing/2014/main" id="{C3B7CBEA-8AD0-441A-A1D4-0F139AA06B72}"/>
              </a:ext>
            </a:extLst>
          </p:cNvPr>
          <p:cNvSpPr/>
          <p:nvPr/>
        </p:nvSpPr>
        <p:spPr>
          <a:xfrm>
            <a:off x="426122" y="4553400"/>
            <a:ext cx="186948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801"/>
          </a:p>
        </p:txBody>
      </p:sp>
      <p:grpSp>
        <p:nvGrpSpPr>
          <p:cNvPr id="8" name="Graphic 5">
            <a:extLst>
              <a:ext uri="{FF2B5EF4-FFF2-40B4-BE49-F238E27FC236}">
                <a16:creationId xmlns:a16="http://schemas.microsoft.com/office/drawing/2014/main" id="{0ED128A5-3EB3-44B8-9514-60A5376432F9}"/>
              </a:ext>
            </a:extLst>
          </p:cNvPr>
          <p:cNvGrpSpPr/>
          <p:nvPr/>
        </p:nvGrpSpPr>
        <p:grpSpPr>
          <a:xfrm>
            <a:off x="423153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44C7458C-BC06-4494-B0B1-ED17D4216707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B0A125BB-D6AD-40EB-AF08-A420D4A06CA2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FE010376-EF61-40DD-9CC0-A54051ADCD08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4D0A3AB1-ACF0-4986-A1E6-6187A094D6AF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DD255570-96B8-48CC-B29C-749451787D24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94F19008-463B-4253-9647-BF159CAD5573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id="{5CCA10BD-5912-479E-A915-0FF9BCA44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CDEFE118-F44C-4422-A399-99640F91D272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D0CB7EBD-FFCD-4327-B037-52DB3ED2140E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</p:spTree>
    <p:extLst>
      <p:ext uri="{BB962C8B-B14F-4D97-AF65-F5344CB8AC3E}">
        <p14:creationId xmlns:p14="http://schemas.microsoft.com/office/powerpoint/2010/main" val="4194852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646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12582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51677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6368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7970F0F-9898-478D-AD56-9AC5CB8561B9}"/>
              </a:ext>
            </a:extLst>
          </p:cNvPr>
          <p:cNvSpPr/>
          <p:nvPr userDrawn="1"/>
        </p:nvSpPr>
        <p:spPr>
          <a:xfrm>
            <a:off x="-2" y="0"/>
            <a:ext cx="7294578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1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 userDrawn="1"/>
        </p:nvSpPr>
        <p:spPr>
          <a:xfrm>
            <a:off x="1697393" y="4706448"/>
            <a:ext cx="640802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 userDrawn="1"/>
        </p:nvSpPr>
        <p:spPr>
          <a:xfrm>
            <a:off x="418855" y="4919628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801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7" y="4280092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1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1" y="2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7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8" name="Полилиния: фигура 17">
            <a:extLst>
              <a:ext uri="{FF2B5EF4-FFF2-40B4-BE49-F238E27FC236}">
                <a16:creationId xmlns:a16="http://schemas.microsoft.com/office/drawing/2014/main" id="{56E33414-3B4A-42F9-9B3C-DC451B0A6762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B4FC9AAA-6983-40E1-A475-3B67DA42177C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632D4F25-C6AD-432D-AEB6-379EFBD56188}"/>
              </a:ext>
            </a:extLst>
          </p:cNvPr>
          <p:cNvSpPr/>
          <p:nvPr userDrawn="1"/>
        </p:nvSpPr>
        <p:spPr>
          <a:xfrm>
            <a:off x="3616731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21" name="Полилиния: фигура 20">
            <a:extLst>
              <a:ext uri="{FF2B5EF4-FFF2-40B4-BE49-F238E27FC236}">
                <a16:creationId xmlns:a16="http://schemas.microsoft.com/office/drawing/2014/main" id="{407EC5EB-720E-47A1-B61E-BDFA7C3B75FC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320DD75F-9BF3-476D-9821-1A79F44BECA8}"/>
              </a:ext>
            </a:extLst>
          </p:cNvPr>
          <p:cNvSpPr/>
          <p:nvPr userDrawn="1"/>
        </p:nvSpPr>
        <p:spPr>
          <a:xfrm>
            <a:off x="1697393" y="4706448"/>
            <a:ext cx="640802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20C824DA-F291-422D-9366-93A6585C320C}"/>
              </a:ext>
            </a:extLst>
          </p:cNvPr>
          <p:cNvSpPr/>
          <p:nvPr userDrawn="1"/>
        </p:nvSpPr>
        <p:spPr>
          <a:xfrm>
            <a:off x="418855" y="4919628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 sz="1801"/>
          </a:p>
        </p:txBody>
      </p:sp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id="{6E0E70B7-4A38-42E0-AA9A-7098AC8DF199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5D956954-4237-437C-8DC3-280112C09B24}"/>
              </a:ext>
            </a:extLst>
          </p:cNvPr>
          <p:cNvSpPr/>
          <p:nvPr userDrawn="1"/>
        </p:nvSpPr>
        <p:spPr>
          <a:xfrm>
            <a:off x="4256997" y="4280092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18F566F9-B90C-4C7D-94B8-6016F910CE49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CE9684D8-C8C8-440B-AE23-521514648E15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86F22C39-B163-4D69-8B0B-7C123B02F50B}"/>
              </a:ext>
            </a:extLst>
          </p:cNvPr>
          <p:cNvSpPr/>
          <p:nvPr userDrawn="1"/>
        </p:nvSpPr>
        <p:spPr>
          <a:xfrm>
            <a:off x="6176336" y="1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 dirty="0" err="1"/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76AF4B09-CAEC-4319-8D55-A1EACFF9E0B9}"/>
              </a:ext>
            </a:extLst>
          </p:cNvPr>
          <p:cNvSpPr/>
          <p:nvPr userDrawn="1"/>
        </p:nvSpPr>
        <p:spPr>
          <a:xfrm>
            <a:off x="1" y="2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sz="1801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30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094436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id="{AA4AF783-430B-4C8F-8FCF-932803F467F5}"/>
              </a:ext>
            </a:extLst>
          </p:cNvPr>
          <p:cNvSpPr/>
          <p:nvPr/>
        </p:nvSpPr>
        <p:spPr>
          <a:xfrm>
            <a:off x="3548604" y="0"/>
            <a:ext cx="4500921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id="{FEEDDF4E-FD57-41B2-B225-953B6EA027D1}"/>
              </a:ext>
            </a:extLst>
          </p:cNvPr>
          <p:cNvSpPr/>
          <p:nvPr/>
        </p:nvSpPr>
        <p:spPr>
          <a:xfrm>
            <a:off x="5941264" y="0"/>
            <a:ext cx="4500921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15FF8BE3-CB84-49EC-B277-FD4E2EEE5729}"/>
              </a:ext>
            </a:extLst>
          </p:cNvPr>
          <p:cNvSpPr/>
          <p:nvPr/>
        </p:nvSpPr>
        <p:spPr>
          <a:xfrm>
            <a:off x="8333929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C1BD6F0-FD89-4582-B4EC-82A01A1E99D9}"/>
              </a:ext>
            </a:extLst>
          </p:cNvPr>
          <p:cNvSpPr/>
          <p:nvPr/>
        </p:nvSpPr>
        <p:spPr>
          <a:xfrm>
            <a:off x="10726590" y="1911539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1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id="{F425DAFD-1B29-415B-9704-2E332FB65534}"/>
              </a:ext>
            </a:extLst>
          </p:cNvPr>
          <p:cNvSpPr/>
          <p:nvPr/>
        </p:nvSpPr>
        <p:spPr>
          <a:xfrm>
            <a:off x="3843612" y="3423086"/>
            <a:ext cx="4500921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1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6214A511-888A-4563-85FF-ACEA85EBFFDB}"/>
              </a:ext>
            </a:extLst>
          </p:cNvPr>
          <p:cNvSpPr/>
          <p:nvPr/>
        </p:nvSpPr>
        <p:spPr>
          <a:xfrm>
            <a:off x="8628934" y="3423086"/>
            <a:ext cx="3563068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id="{31F734ED-68BC-42E0-8B68-128A5E70D998}"/>
              </a:ext>
            </a:extLst>
          </p:cNvPr>
          <p:cNvSpPr/>
          <p:nvPr/>
        </p:nvSpPr>
        <p:spPr>
          <a:xfrm>
            <a:off x="1163024" y="0"/>
            <a:ext cx="4500921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06D2A420-D43F-40FC-9401-D5154F54DB05}"/>
              </a:ext>
            </a:extLst>
          </p:cNvPr>
          <p:cNvSpPr/>
          <p:nvPr/>
        </p:nvSpPr>
        <p:spPr>
          <a:xfrm>
            <a:off x="2" y="0"/>
            <a:ext cx="3453116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C2D606E4-CD58-4A76-ADB5-52BB86319F80}"/>
              </a:ext>
            </a:extLst>
          </p:cNvPr>
          <p:cNvSpPr/>
          <p:nvPr/>
        </p:nvSpPr>
        <p:spPr>
          <a:xfrm>
            <a:off x="2" y="3423088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20"/>
            <a:ext cx="9272772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280341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BFF2F70-EEE1-4E97-8FB6-5F7221F40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20"/>
            <a:ext cx="9272772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2413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5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531324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1" y="1089025"/>
            <a:ext cx="4607893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162921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16" y="1490010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5" name="Рисунок 13">
            <a:extLst>
              <a:ext uri="{FF2B5EF4-FFF2-40B4-BE49-F238E27FC236}">
                <a16:creationId xmlns:a16="http://schemas.microsoft.com/office/drawing/2014/main" id="{6C2AC61C-9155-4028-9355-CBD9F23FE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316" y="3367301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Рисунок 13">
            <a:extLst>
              <a:ext uri="{FF2B5EF4-FFF2-40B4-BE49-F238E27FC236}">
                <a16:creationId xmlns:a16="http://schemas.microsoft.com/office/drawing/2014/main" id="{B6110899-C7C2-42CA-A239-960D1209AB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7316" y="5244591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7" name="Рисунок 13">
            <a:extLst>
              <a:ext uri="{FF2B5EF4-FFF2-40B4-BE49-F238E27FC236}">
                <a16:creationId xmlns:a16="http://schemas.microsoft.com/office/drawing/2014/main" id="{844FBDB0-EFD0-4412-895B-27E429D2D7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00846" y="1490010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8" name="Рисунок 13">
            <a:extLst>
              <a:ext uri="{FF2B5EF4-FFF2-40B4-BE49-F238E27FC236}">
                <a16:creationId xmlns:a16="http://schemas.microsoft.com/office/drawing/2014/main" id="{35B74EFC-C54B-498B-B91A-1B65939C84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39190" y="1490010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9" name="Рисунок 13">
            <a:extLst>
              <a:ext uri="{FF2B5EF4-FFF2-40B4-BE49-F238E27FC236}">
                <a16:creationId xmlns:a16="http://schemas.microsoft.com/office/drawing/2014/main" id="{C97F030B-7237-4B1E-AC59-451930CFC3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0846" y="3367301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0" name="Рисунок 13">
            <a:extLst>
              <a:ext uri="{FF2B5EF4-FFF2-40B4-BE49-F238E27FC236}">
                <a16:creationId xmlns:a16="http://schemas.microsoft.com/office/drawing/2014/main" id="{9AE7D753-D524-4E9F-B522-7389A8E773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9190" y="3360371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Рисунок 13">
            <a:extLst>
              <a:ext uri="{FF2B5EF4-FFF2-40B4-BE49-F238E27FC236}">
                <a16:creationId xmlns:a16="http://schemas.microsoft.com/office/drawing/2014/main" id="{0DB976B9-B6F2-4400-A08E-0524A79AD7D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00846" y="5244591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Рисунок 13">
            <a:extLst>
              <a:ext uri="{FF2B5EF4-FFF2-40B4-BE49-F238E27FC236}">
                <a16:creationId xmlns:a16="http://schemas.microsoft.com/office/drawing/2014/main" id="{3A1C151D-DFF9-4DBF-9292-AEF08CD0A5A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39190" y="5244591"/>
            <a:ext cx="814908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1" name="Slide Number Placeholder 7">
            <a:extLst>
              <a:ext uri="{FF2B5EF4-FFF2-40B4-BE49-F238E27FC236}">
                <a16:creationId xmlns:a16="http://schemas.microsoft.com/office/drawing/2014/main" id="{E0865DC9-48E3-4E85-A2FB-8283BE80B9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2" name="Текст 3">
            <a:extLst>
              <a:ext uri="{FF2B5EF4-FFF2-40B4-BE49-F238E27FC236}">
                <a16:creationId xmlns:a16="http://schemas.microsoft.com/office/drawing/2014/main" id="{7CC3F587-9F30-4C41-8421-8E9EACA2F7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31218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D52B4510-A1CC-42EE-B09C-0759EE3ECF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04867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8553449B-AA81-4002-BFC2-849CE63886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04867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249A119C-6FEE-4BEB-A43E-6DD39C2366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04867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59234B06-0350-4A5C-B591-A68B7C9C03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45978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Рисунок 13">
            <a:extLst>
              <a:ext uri="{FF2B5EF4-FFF2-40B4-BE49-F238E27FC236}">
                <a16:creationId xmlns:a16="http://schemas.microsoft.com/office/drawing/2014/main" id="{419C62D1-466E-4A75-A20F-F4281A82C6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5978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84FF0057-290A-4001-9DD8-3012BAD9E0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5978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7" name="Slide Number Placeholder 7">
            <a:extLst>
              <a:ext uri="{FF2B5EF4-FFF2-40B4-BE49-F238E27FC236}">
                <a16:creationId xmlns:a16="http://schemas.microsoft.com/office/drawing/2014/main" id="{B2902128-9BCC-463B-9EC6-D11C8BCFAD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id="{95493472-4877-442E-ACD9-C851529CA6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91067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 фото с людь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Рисунок 13">
            <a:extLst>
              <a:ext uri="{FF2B5EF4-FFF2-40B4-BE49-F238E27FC236}">
                <a16:creationId xmlns:a16="http://schemas.microsoft.com/office/drawing/2014/main" id="{68A87041-9869-4786-8837-88AFBFE952F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47802" y="140318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554642B5-45F3-4C67-B814-B20780BA4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1843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F0A5985A-4AE2-443D-B641-1D6516AE92E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89907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9B56A0C1-38C8-44E6-94E8-8F151EF453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77969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A3115D26-324B-4C69-B519-1D0A28339B3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66033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B98B5B00-C06A-487C-8747-9B39092F38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9BCA3E88-282F-4D10-8D5F-78D89E8EB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35195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1960" y="1956788"/>
            <a:ext cx="3642366" cy="3642366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95497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2"/>
          </p:nvPr>
        </p:nvSpPr>
        <p:spPr>
          <a:xfrm>
            <a:off x="6096001" y="1604212"/>
            <a:ext cx="2774949" cy="2286752"/>
          </a:xfrm>
        </p:spPr>
        <p:txBody>
          <a:bodyPr/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97448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4663EF5-10C4-49EC-88C8-16AF90F8EC81}"/>
              </a:ext>
            </a:extLst>
          </p:cNvPr>
          <p:cNvSpPr/>
          <p:nvPr userDrawn="1"/>
        </p:nvSpPr>
        <p:spPr>
          <a:xfrm>
            <a:off x="5601506" y="1088740"/>
            <a:ext cx="6111118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300F2668-2E4C-4F9B-BCF1-84DE6D299F50}"/>
              </a:ext>
            </a:extLst>
          </p:cNvPr>
          <p:cNvSpPr/>
          <p:nvPr userDrawn="1"/>
        </p:nvSpPr>
        <p:spPr>
          <a:xfrm>
            <a:off x="5601506" y="2416696"/>
            <a:ext cx="6111118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5E3DF761-2573-49E8-8067-06735714517B}"/>
              </a:ext>
            </a:extLst>
          </p:cNvPr>
          <p:cNvSpPr/>
          <p:nvPr userDrawn="1"/>
        </p:nvSpPr>
        <p:spPr>
          <a:xfrm>
            <a:off x="5601506" y="3744652"/>
            <a:ext cx="6111118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FCBBC2A5-6ADE-4FC4-B775-F0A0B1CA0AEF}"/>
              </a:ext>
            </a:extLst>
          </p:cNvPr>
          <p:cNvSpPr/>
          <p:nvPr userDrawn="1"/>
        </p:nvSpPr>
        <p:spPr>
          <a:xfrm>
            <a:off x="5593493" y="5072608"/>
            <a:ext cx="6111118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7987" y="1088741"/>
            <a:ext cx="3379762" cy="257297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5D3D3A01-8AB9-41F1-893E-30590EE88E8E}"/>
              </a:ext>
            </a:extLst>
          </p:cNvPr>
          <p:cNvGrpSpPr/>
          <p:nvPr userDrawn="1"/>
        </p:nvGrpSpPr>
        <p:grpSpPr>
          <a:xfrm>
            <a:off x="407988" y="3559578"/>
            <a:ext cx="3389730" cy="2690231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1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sz="1801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sz="1801"/>
            </a:p>
          </p:txBody>
        </p:sp>
      </p:grpSp>
      <p:sp>
        <p:nvSpPr>
          <p:cNvPr id="48" name="Рисунок 13">
            <a:extLst>
              <a:ext uri="{FF2B5EF4-FFF2-40B4-BE49-F238E27FC236}">
                <a16:creationId xmlns:a16="http://schemas.microsoft.com/office/drawing/2014/main" id="{6D4E6D65-E1DC-4D39-A22B-4383C1AD796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20336" y="2416325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id="{7566EF06-F4EE-4A93-B797-4D949201E3F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120336" y="108874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0" name="Рисунок 13">
            <a:extLst>
              <a:ext uri="{FF2B5EF4-FFF2-40B4-BE49-F238E27FC236}">
                <a16:creationId xmlns:a16="http://schemas.microsoft.com/office/drawing/2014/main" id="{7106A8ED-F888-44BE-A61A-EA9C8336F0A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2324" y="5071496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1" name="Рисунок 13">
            <a:extLst>
              <a:ext uri="{FF2B5EF4-FFF2-40B4-BE49-F238E27FC236}">
                <a16:creationId xmlns:a16="http://schemas.microsoft.com/office/drawing/2014/main" id="{A0E2E3C1-C927-466D-A514-0CF5BDD71A6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0336" y="374391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Slide Number Placeholder 7">
            <a:extLst>
              <a:ext uri="{FF2B5EF4-FFF2-40B4-BE49-F238E27FC236}">
                <a16:creationId xmlns:a16="http://schemas.microsoft.com/office/drawing/2014/main" id="{D575D0C9-6508-40C1-98BA-4B4ADE37A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id="{B9265922-E1C7-42C4-92A8-A04AF38F4E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4651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76197" y="1094537"/>
            <a:ext cx="3650976" cy="21184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5D3D3A01-8AB9-41F1-893E-30590EE88E8E}"/>
              </a:ext>
            </a:extLst>
          </p:cNvPr>
          <p:cNvGrpSpPr/>
          <p:nvPr userDrawn="1"/>
        </p:nvGrpSpPr>
        <p:grpSpPr>
          <a:xfrm>
            <a:off x="407988" y="1094538"/>
            <a:ext cx="2669268" cy="2118442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1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sz="1801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 sz="1801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4663EF5-10C4-49EC-88C8-16AF90F8EC81}"/>
              </a:ext>
            </a:extLst>
          </p:cNvPr>
          <p:cNvSpPr/>
          <p:nvPr userDrawn="1"/>
        </p:nvSpPr>
        <p:spPr>
          <a:xfrm>
            <a:off x="407987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0AB26E0-BFEB-4CB9-866C-38ED55F1659D}"/>
              </a:ext>
            </a:extLst>
          </p:cNvPr>
          <p:cNvSpPr/>
          <p:nvPr userDrawn="1"/>
        </p:nvSpPr>
        <p:spPr>
          <a:xfrm>
            <a:off x="330943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89767F2-69AD-4667-BD01-FD679E69D2E5}"/>
              </a:ext>
            </a:extLst>
          </p:cNvPr>
          <p:cNvSpPr/>
          <p:nvPr userDrawn="1"/>
        </p:nvSpPr>
        <p:spPr>
          <a:xfrm>
            <a:off x="621087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AFB284E-8083-456D-A09D-9AD94EFB6B66}"/>
              </a:ext>
            </a:extLst>
          </p:cNvPr>
          <p:cNvSpPr/>
          <p:nvPr userDrawn="1"/>
        </p:nvSpPr>
        <p:spPr>
          <a:xfrm>
            <a:off x="911232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61" fontAlgn="auto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id="{7566EF06-F4EE-4A93-B797-4D949201E3F2}"/>
              </a:ext>
            </a:extLst>
          </p:cNvPr>
          <p:cNvSpPr>
            <a:spLocks noGrp="1"/>
          </p:cNvSpPr>
          <p:nvPr userDrawn="1">
            <p:ph type="pic" sz="quarter" idx="28"/>
          </p:nvPr>
        </p:nvSpPr>
        <p:spPr>
          <a:xfrm>
            <a:off x="407989" y="3645023"/>
            <a:ext cx="2668210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Рисунок 13">
            <a:extLst>
              <a:ext uri="{FF2B5EF4-FFF2-40B4-BE49-F238E27FC236}">
                <a16:creationId xmlns:a16="http://schemas.microsoft.com/office/drawing/2014/main" id="{089C0836-FFC4-4181-9B0B-4CBF759FA12B}"/>
              </a:ext>
            </a:extLst>
          </p:cNvPr>
          <p:cNvSpPr>
            <a:spLocks noGrp="1"/>
          </p:cNvSpPr>
          <p:nvPr userDrawn="1">
            <p:ph type="pic" sz="quarter" idx="31"/>
          </p:nvPr>
        </p:nvSpPr>
        <p:spPr>
          <a:xfrm>
            <a:off x="3309435" y="3645023"/>
            <a:ext cx="2668210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3" name="Рисунок 13">
            <a:extLst>
              <a:ext uri="{FF2B5EF4-FFF2-40B4-BE49-F238E27FC236}">
                <a16:creationId xmlns:a16="http://schemas.microsoft.com/office/drawing/2014/main" id="{7C34B081-7BFA-4FAA-A1B8-26D73B20EB2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10880" y="3645023"/>
            <a:ext cx="2668210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Рисунок 13">
            <a:extLst>
              <a:ext uri="{FF2B5EF4-FFF2-40B4-BE49-F238E27FC236}">
                <a16:creationId xmlns:a16="http://schemas.microsoft.com/office/drawing/2014/main" id="{EABCF6EC-FCA7-4E6F-88B2-8F2EA1E9736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12323" y="3645023"/>
            <a:ext cx="2668210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13057BA5-882A-4E38-BD39-E7A78D295C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74A28709-B960-483D-A48B-A5375DE004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61167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10C09BF6-5671-4D43-A581-F847DFF8D4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47104" y="1089026"/>
            <a:ext cx="1060889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1" name="Рисунок 20">
            <a:extLst>
              <a:ext uri="{FF2B5EF4-FFF2-40B4-BE49-F238E27FC236}">
                <a16:creationId xmlns:a16="http://schemas.microsoft.com/office/drawing/2014/main" id="{FD647041-7DC6-4AE1-8AF2-866753B73A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00735" y="1089026"/>
            <a:ext cx="1060887" cy="1060888"/>
          </a:xfrm>
          <a:custGeom>
            <a:avLst/>
            <a:gdLst>
              <a:gd name="connsiteX0" fmla="*/ 530443 w 1060887"/>
              <a:gd name="connsiteY0" fmla="*/ 0 h 1060888"/>
              <a:gd name="connsiteX1" fmla="*/ 1060887 w 1060887"/>
              <a:gd name="connsiteY1" fmla="*/ 530444 h 1060888"/>
              <a:gd name="connsiteX2" fmla="*/ 530443 w 1060887"/>
              <a:gd name="connsiteY2" fmla="*/ 1060888 h 1060888"/>
              <a:gd name="connsiteX3" fmla="*/ 10776 w 1060887"/>
              <a:gd name="connsiteY3" fmla="*/ 637347 h 1060888"/>
              <a:gd name="connsiteX4" fmla="*/ 0 w 1060887"/>
              <a:gd name="connsiteY4" fmla="*/ 530454 h 1060888"/>
              <a:gd name="connsiteX5" fmla="*/ 0 w 1060887"/>
              <a:gd name="connsiteY5" fmla="*/ 530434 h 1060888"/>
              <a:gd name="connsiteX6" fmla="*/ 10776 w 1060887"/>
              <a:gd name="connsiteY6" fmla="*/ 423541 h 1060888"/>
              <a:gd name="connsiteX7" fmla="*/ 530443 w 1060887"/>
              <a:gd name="connsiteY7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0887" h="1060888">
                <a:moveTo>
                  <a:pt x="530443" y="0"/>
                </a:moveTo>
                <a:cubicBezTo>
                  <a:pt x="823399" y="0"/>
                  <a:pt x="1060887" y="237488"/>
                  <a:pt x="1060887" y="530444"/>
                </a:cubicBezTo>
                <a:cubicBezTo>
                  <a:pt x="1060887" y="823400"/>
                  <a:pt x="823399" y="1060888"/>
                  <a:pt x="530443" y="1060888"/>
                </a:cubicBezTo>
                <a:cubicBezTo>
                  <a:pt x="274107" y="1060888"/>
                  <a:pt x="60238" y="879061"/>
                  <a:pt x="10776" y="637347"/>
                </a:cubicBezTo>
                <a:lnTo>
                  <a:pt x="0" y="530454"/>
                </a:lnTo>
                <a:lnTo>
                  <a:pt x="0" y="530434"/>
                </a:lnTo>
                <a:lnTo>
                  <a:pt x="10776" y="423541"/>
                </a:lnTo>
                <a:cubicBezTo>
                  <a:pt x="60238" y="181827"/>
                  <a:pt x="274107" y="0"/>
                  <a:pt x="53044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49BEBD48-28F8-4D51-BF9F-8D5920D2269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54361" y="1089026"/>
            <a:ext cx="1060889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8D2DDFC1-EBF1-4825-B5EE-88D59E7F502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1060889" cy="1060888"/>
          </a:xfrm>
          <a:custGeom>
            <a:avLst/>
            <a:gdLst>
              <a:gd name="connsiteX0" fmla="*/ 530444 w 1060888"/>
              <a:gd name="connsiteY0" fmla="*/ 0 h 1060888"/>
              <a:gd name="connsiteX1" fmla="*/ 1060888 w 1060888"/>
              <a:gd name="connsiteY1" fmla="*/ 530444 h 1060888"/>
              <a:gd name="connsiteX2" fmla="*/ 530444 w 1060888"/>
              <a:gd name="connsiteY2" fmla="*/ 1060888 h 1060888"/>
              <a:gd name="connsiteX3" fmla="*/ 0 w 1060888"/>
              <a:gd name="connsiteY3" fmla="*/ 530444 h 1060888"/>
              <a:gd name="connsiteX4" fmla="*/ 530444 w 1060888"/>
              <a:gd name="connsiteY4" fmla="*/ 0 h 106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888" h="1060888">
                <a:moveTo>
                  <a:pt x="530444" y="0"/>
                </a:moveTo>
                <a:cubicBezTo>
                  <a:pt x="823400" y="0"/>
                  <a:pt x="1060888" y="237488"/>
                  <a:pt x="1060888" y="530444"/>
                </a:cubicBezTo>
                <a:cubicBezTo>
                  <a:pt x="1060888" y="823400"/>
                  <a:pt x="823400" y="1060888"/>
                  <a:pt x="530444" y="1060888"/>
                </a:cubicBezTo>
                <a:cubicBezTo>
                  <a:pt x="237488" y="1060888"/>
                  <a:pt x="0" y="823400"/>
                  <a:pt x="0" y="530444"/>
                </a:cubicBezTo>
                <a:cubicBezTo>
                  <a:pt x="0" y="237488"/>
                  <a:pt x="237488" y="0"/>
                  <a:pt x="53044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defTabSz="914411">
              <a:defRPr/>
            </a:pPr>
            <a:fld id="{3B9CAC58-44C9-4DC0-A6AF-0B4057C34224}" type="slidenum">
              <a:rPr lang="ru-RU" smtClean="0">
                <a:solidFill>
                  <a:srgbClr val="000000">
                    <a:lumMod val="95000"/>
                    <a:lumOff val="5000"/>
                  </a:srgbClr>
                </a:solidFill>
              </a:rPr>
              <a:pPr defTabSz="914411">
                <a:defRPr/>
              </a:pPr>
              <a:t>‹#›</a:t>
            </a:fld>
            <a:endParaRPr lang="ru-RU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238219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5" name="Рисунок 4" descr="Изображение выглядит как электроника, компьютер, ноутбук, монитор&#10;&#10;Автоматически созданное описание">
            <a:extLst>
              <a:ext uri="{FF2B5EF4-FFF2-40B4-BE49-F238E27FC236}">
                <a16:creationId xmlns:a16="http://schemas.microsoft.com/office/drawing/2014/main" id="{6F8DE449-93F0-4B3E-BF6E-DA70302D31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0242" y="1569061"/>
            <a:ext cx="7375008" cy="4421496"/>
          </a:xfrm>
          <a:prstGeom prst="rect">
            <a:avLst/>
          </a:prstGeom>
        </p:spPr>
      </p:pic>
      <p:sp>
        <p:nvSpPr>
          <p:cNvPr id="6" name="Рисунок 5">
            <a:extLst>
              <a:ext uri="{FF2B5EF4-FFF2-40B4-BE49-F238E27FC236}">
                <a16:creationId xmlns:a16="http://schemas.microsoft.com/office/drawing/2014/main" id="{8CE9FA37-E03F-4EEB-9F99-4C952FF194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84535" y="1896379"/>
            <a:ext cx="5686425" cy="3570971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lang="ru-RU"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4" lvl="0" indent="-228604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26203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6A1327C-FCD7-4D54-AF17-EC831750C1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2" t="27968" r="19918" b="5923"/>
          <a:stretch/>
        </p:blipFill>
        <p:spPr>
          <a:xfrm>
            <a:off x="-457199" y="1268423"/>
            <a:ext cx="8360229" cy="5589578"/>
          </a:xfrm>
          <a:prstGeom prst="rect">
            <a:avLst/>
          </a:prstGeom>
        </p:spPr>
      </p:pic>
      <p:sp>
        <p:nvSpPr>
          <p:cNvPr id="11" name="Рисунок 5">
            <a:extLst>
              <a:ext uri="{FF2B5EF4-FFF2-40B4-BE49-F238E27FC236}">
                <a16:creationId xmlns:a16="http://schemas.microsoft.com/office/drawing/2014/main" id="{EAA71A6E-20EF-4BCF-9DFF-2CB8AEA0B5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8801" y="1803401"/>
            <a:ext cx="5137150" cy="3873500"/>
          </a:xfrm>
          <a:prstGeom prst="roundRect">
            <a:avLst>
              <a:gd name="adj" fmla="val 1926"/>
            </a:avLst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lang="ru-RU"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4" lvl="0" indent="-228604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917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B99A217-0E5E-4E23-BC94-45403678D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75" y="1001797"/>
            <a:ext cx="3533084" cy="5385644"/>
          </a:xfrm>
          <a:prstGeom prst="rect">
            <a:avLst/>
          </a:prstGeom>
        </p:spPr>
      </p:pic>
      <p:sp>
        <p:nvSpPr>
          <p:cNvPr id="9" name="Рисунок 5">
            <a:extLst>
              <a:ext uri="{FF2B5EF4-FFF2-40B4-BE49-F238E27FC236}">
                <a16:creationId xmlns:a16="http://schemas.microsoft.com/office/drawing/2014/main" id="{C8280DB4-9A69-46AB-8ED2-9C259D39C1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1070" y="1703472"/>
            <a:ext cx="2238375" cy="3979863"/>
          </a:xfrm>
          <a:prstGeom prst="rect">
            <a:avLst/>
          </a:pr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4" lvl="0" indent="-228604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82712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 descr="Изображение выглядит как монитор, знак, сидит, фотография&#10;&#10;Автоматически созданное описание">
            <a:extLst>
              <a:ext uri="{FF2B5EF4-FFF2-40B4-BE49-F238E27FC236}">
                <a16:creationId xmlns:a16="http://schemas.microsoft.com/office/drawing/2014/main" id="{662B84DF-AD08-4683-8671-F7C73DA428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6181" y="1133173"/>
            <a:ext cx="3517972" cy="5322692"/>
          </a:xfrm>
          <a:prstGeom prst="rect">
            <a:avLst/>
          </a:prstGeom>
        </p:spPr>
      </p:pic>
      <p:sp>
        <p:nvSpPr>
          <p:cNvPr id="11" name="Рисунок 36">
            <a:extLst>
              <a:ext uri="{FF2B5EF4-FFF2-40B4-BE49-F238E27FC236}">
                <a16:creationId xmlns:a16="http://schemas.microsoft.com/office/drawing/2014/main" id="{3F22F2FE-3EF0-4977-B157-172050412F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8056" y="1281086"/>
            <a:ext cx="2233214" cy="4849619"/>
          </a:xfrm>
          <a:custGeom>
            <a:avLst/>
            <a:gdLst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0 w 2466975"/>
              <a:gd name="connsiteY17" fmla="*/ 0 h 5043488"/>
              <a:gd name="connsiteX18" fmla="*/ 2466975 w 2466975"/>
              <a:gd name="connsiteY18" fmla="*/ 0 h 5043488"/>
              <a:gd name="connsiteX19" fmla="*/ 2466975 w 2466975"/>
              <a:gd name="connsiteY19" fmla="*/ 5043488 h 5043488"/>
              <a:gd name="connsiteX20" fmla="*/ 0 w 2466975"/>
              <a:gd name="connsiteY20" fmla="*/ 5043488 h 5043488"/>
              <a:gd name="connsiteX0" fmla="*/ 438899 w 2562225"/>
              <a:gd name="connsiteY0" fmla="*/ 448695 h 5418138"/>
              <a:gd name="connsiteX1" fmla="*/ 210662 w 2562225"/>
              <a:gd name="connsiteY1" fmla="*/ 678213 h 5418138"/>
              <a:gd name="connsiteX2" fmla="*/ 210662 w 2562225"/>
              <a:gd name="connsiteY2" fmla="*/ 5068796 h 5418138"/>
              <a:gd name="connsiteX3" fmla="*/ 438899 w 2562225"/>
              <a:gd name="connsiteY3" fmla="*/ 5298314 h 5418138"/>
              <a:gd name="connsiteX4" fmla="*/ 2215639 w 2562225"/>
              <a:gd name="connsiteY4" fmla="*/ 5298314 h 5418138"/>
              <a:gd name="connsiteX5" fmla="*/ 2443876 w 2562225"/>
              <a:gd name="connsiteY5" fmla="*/ 5068796 h 5418138"/>
              <a:gd name="connsiteX6" fmla="*/ 2443876 w 2562225"/>
              <a:gd name="connsiteY6" fmla="*/ 678213 h 5418138"/>
              <a:gd name="connsiteX7" fmla="*/ 2215639 w 2562225"/>
              <a:gd name="connsiteY7" fmla="*/ 448695 h 5418138"/>
              <a:gd name="connsiteX8" fmla="*/ 1980734 w 2562225"/>
              <a:gd name="connsiteY8" fmla="*/ 448695 h 5418138"/>
              <a:gd name="connsiteX9" fmla="*/ 1948466 w 2562225"/>
              <a:gd name="connsiteY9" fmla="*/ 481143 h 5418138"/>
              <a:gd name="connsiteX10" fmla="*/ 1949757 w 2562225"/>
              <a:gd name="connsiteY10" fmla="*/ 498449 h 5418138"/>
              <a:gd name="connsiteX11" fmla="*/ 1819720 w 2562225"/>
              <a:gd name="connsiteY11" fmla="*/ 629865 h 5418138"/>
              <a:gd name="connsiteX12" fmla="*/ 835570 w 2562225"/>
              <a:gd name="connsiteY12" fmla="*/ 629865 h 5418138"/>
              <a:gd name="connsiteX13" fmla="*/ 704663 w 2562225"/>
              <a:gd name="connsiteY13" fmla="*/ 499544 h 5418138"/>
              <a:gd name="connsiteX14" fmla="*/ 705426 w 2562225"/>
              <a:gd name="connsiteY14" fmla="*/ 484713 h 5418138"/>
              <a:gd name="connsiteX15" fmla="*/ 705426 w 2562225"/>
              <a:gd name="connsiteY15" fmla="*/ 481143 h 5418138"/>
              <a:gd name="connsiteX16" fmla="*/ 673159 w 2562225"/>
              <a:gd name="connsiteY16" fmla="*/ 448695 h 5418138"/>
              <a:gd name="connsiteX17" fmla="*/ 438899 w 2562225"/>
              <a:gd name="connsiteY17" fmla="*/ 448695 h 5418138"/>
              <a:gd name="connsiteX18" fmla="*/ 0 w 2562225"/>
              <a:gd name="connsiteY18" fmla="*/ 0 h 5418138"/>
              <a:gd name="connsiteX19" fmla="*/ 2562225 w 2562225"/>
              <a:gd name="connsiteY19" fmla="*/ 374650 h 5418138"/>
              <a:gd name="connsiteX20" fmla="*/ 2562225 w 2562225"/>
              <a:gd name="connsiteY20" fmla="*/ 5418138 h 5418138"/>
              <a:gd name="connsiteX21" fmla="*/ 95250 w 2562225"/>
              <a:gd name="connsiteY21" fmla="*/ 5418138 h 5418138"/>
              <a:gd name="connsiteX22" fmla="*/ 0 w 2562225"/>
              <a:gd name="connsiteY22" fmla="*/ 0 h 5418138"/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343649 w 2466975"/>
              <a:gd name="connsiteY17" fmla="*/ 74045 h 5043488"/>
              <a:gd name="connsiteX18" fmla="*/ 0 w 2466975"/>
              <a:gd name="connsiteY18" fmla="*/ 5043488 h 5043488"/>
              <a:gd name="connsiteX19" fmla="*/ 2466975 w 2466975"/>
              <a:gd name="connsiteY19" fmla="*/ 0 h 5043488"/>
              <a:gd name="connsiteX20" fmla="*/ 2466975 w 2466975"/>
              <a:gd name="connsiteY20" fmla="*/ 5043488 h 5043488"/>
              <a:gd name="connsiteX21" fmla="*/ 0 w 2466975"/>
              <a:gd name="connsiteY21" fmla="*/ 5043488 h 5043488"/>
              <a:gd name="connsiteX0" fmla="*/ 343649 w 2466975"/>
              <a:gd name="connsiteY0" fmla="*/ 0 h 4969443"/>
              <a:gd name="connsiteX1" fmla="*/ 115412 w 2466975"/>
              <a:gd name="connsiteY1" fmla="*/ 229518 h 4969443"/>
              <a:gd name="connsiteX2" fmla="*/ 115412 w 2466975"/>
              <a:gd name="connsiteY2" fmla="*/ 4620101 h 4969443"/>
              <a:gd name="connsiteX3" fmla="*/ 343649 w 2466975"/>
              <a:gd name="connsiteY3" fmla="*/ 4849619 h 4969443"/>
              <a:gd name="connsiteX4" fmla="*/ 2120389 w 2466975"/>
              <a:gd name="connsiteY4" fmla="*/ 4849619 h 4969443"/>
              <a:gd name="connsiteX5" fmla="*/ 2348626 w 2466975"/>
              <a:gd name="connsiteY5" fmla="*/ 4620101 h 4969443"/>
              <a:gd name="connsiteX6" fmla="*/ 2348626 w 2466975"/>
              <a:gd name="connsiteY6" fmla="*/ 229518 h 4969443"/>
              <a:gd name="connsiteX7" fmla="*/ 2120389 w 2466975"/>
              <a:gd name="connsiteY7" fmla="*/ 0 h 4969443"/>
              <a:gd name="connsiteX8" fmla="*/ 1885484 w 2466975"/>
              <a:gd name="connsiteY8" fmla="*/ 0 h 4969443"/>
              <a:gd name="connsiteX9" fmla="*/ 1853216 w 2466975"/>
              <a:gd name="connsiteY9" fmla="*/ 32448 h 4969443"/>
              <a:gd name="connsiteX10" fmla="*/ 1854507 w 2466975"/>
              <a:gd name="connsiteY10" fmla="*/ 49754 h 4969443"/>
              <a:gd name="connsiteX11" fmla="*/ 1724470 w 2466975"/>
              <a:gd name="connsiteY11" fmla="*/ 181170 h 4969443"/>
              <a:gd name="connsiteX12" fmla="*/ 740320 w 2466975"/>
              <a:gd name="connsiteY12" fmla="*/ 181170 h 4969443"/>
              <a:gd name="connsiteX13" fmla="*/ 609413 w 2466975"/>
              <a:gd name="connsiteY13" fmla="*/ 50849 h 4969443"/>
              <a:gd name="connsiteX14" fmla="*/ 610176 w 2466975"/>
              <a:gd name="connsiteY14" fmla="*/ 36018 h 4969443"/>
              <a:gd name="connsiteX15" fmla="*/ 610176 w 2466975"/>
              <a:gd name="connsiteY15" fmla="*/ 32448 h 4969443"/>
              <a:gd name="connsiteX16" fmla="*/ 577909 w 2466975"/>
              <a:gd name="connsiteY16" fmla="*/ 0 h 4969443"/>
              <a:gd name="connsiteX17" fmla="*/ 343649 w 2466975"/>
              <a:gd name="connsiteY17" fmla="*/ 0 h 4969443"/>
              <a:gd name="connsiteX18" fmla="*/ 0 w 2466975"/>
              <a:gd name="connsiteY18" fmla="*/ 4969443 h 4969443"/>
              <a:gd name="connsiteX19" fmla="*/ 2466975 w 2466975"/>
              <a:gd name="connsiteY19" fmla="*/ 4969443 h 4969443"/>
              <a:gd name="connsiteX20" fmla="*/ 0 w 2466975"/>
              <a:gd name="connsiteY20" fmla="*/ 4969443 h 4969443"/>
              <a:gd name="connsiteX0" fmla="*/ 228237 w 2233214"/>
              <a:gd name="connsiteY0" fmla="*/ 0 h 4849619"/>
              <a:gd name="connsiteX1" fmla="*/ 0 w 2233214"/>
              <a:gd name="connsiteY1" fmla="*/ 229518 h 4849619"/>
              <a:gd name="connsiteX2" fmla="*/ 0 w 2233214"/>
              <a:gd name="connsiteY2" fmla="*/ 4620101 h 4849619"/>
              <a:gd name="connsiteX3" fmla="*/ 228237 w 2233214"/>
              <a:gd name="connsiteY3" fmla="*/ 4849619 h 4849619"/>
              <a:gd name="connsiteX4" fmla="*/ 2004977 w 2233214"/>
              <a:gd name="connsiteY4" fmla="*/ 4849619 h 4849619"/>
              <a:gd name="connsiteX5" fmla="*/ 2233214 w 2233214"/>
              <a:gd name="connsiteY5" fmla="*/ 4620101 h 4849619"/>
              <a:gd name="connsiteX6" fmla="*/ 2233214 w 2233214"/>
              <a:gd name="connsiteY6" fmla="*/ 229518 h 4849619"/>
              <a:gd name="connsiteX7" fmla="*/ 2004977 w 2233214"/>
              <a:gd name="connsiteY7" fmla="*/ 0 h 4849619"/>
              <a:gd name="connsiteX8" fmla="*/ 1770072 w 2233214"/>
              <a:gd name="connsiteY8" fmla="*/ 0 h 4849619"/>
              <a:gd name="connsiteX9" fmla="*/ 1737804 w 2233214"/>
              <a:gd name="connsiteY9" fmla="*/ 32448 h 4849619"/>
              <a:gd name="connsiteX10" fmla="*/ 1739095 w 2233214"/>
              <a:gd name="connsiteY10" fmla="*/ 49754 h 4849619"/>
              <a:gd name="connsiteX11" fmla="*/ 1609058 w 2233214"/>
              <a:gd name="connsiteY11" fmla="*/ 181170 h 4849619"/>
              <a:gd name="connsiteX12" fmla="*/ 624908 w 2233214"/>
              <a:gd name="connsiteY12" fmla="*/ 181170 h 4849619"/>
              <a:gd name="connsiteX13" fmla="*/ 494001 w 2233214"/>
              <a:gd name="connsiteY13" fmla="*/ 50849 h 4849619"/>
              <a:gd name="connsiteX14" fmla="*/ 494764 w 2233214"/>
              <a:gd name="connsiteY14" fmla="*/ 36018 h 4849619"/>
              <a:gd name="connsiteX15" fmla="*/ 494764 w 2233214"/>
              <a:gd name="connsiteY15" fmla="*/ 32448 h 4849619"/>
              <a:gd name="connsiteX16" fmla="*/ 462497 w 2233214"/>
              <a:gd name="connsiteY16" fmla="*/ 0 h 4849619"/>
              <a:gd name="connsiteX17" fmla="*/ 228237 w 2233214"/>
              <a:gd name="connsiteY17" fmla="*/ 0 h 484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33214" h="4849619">
                <a:moveTo>
                  <a:pt x="228237" y="0"/>
                </a:moveTo>
                <a:cubicBezTo>
                  <a:pt x="102185" y="0"/>
                  <a:pt x="0" y="102759"/>
                  <a:pt x="0" y="229518"/>
                </a:cubicBezTo>
                <a:lnTo>
                  <a:pt x="0" y="4620101"/>
                </a:lnTo>
                <a:cubicBezTo>
                  <a:pt x="0" y="4746855"/>
                  <a:pt x="102185" y="4849619"/>
                  <a:pt x="228237" y="4849619"/>
                </a:cubicBezTo>
                <a:lnTo>
                  <a:pt x="2004977" y="4849619"/>
                </a:lnTo>
                <a:cubicBezTo>
                  <a:pt x="2131023" y="4849619"/>
                  <a:pt x="2233214" y="4746855"/>
                  <a:pt x="2233214" y="4620101"/>
                </a:cubicBezTo>
                <a:lnTo>
                  <a:pt x="2233214" y="229518"/>
                </a:lnTo>
                <a:cubicBezTo>
                  <a:pt x="2233214" y="102759"/>
                  <a:pt x="2131023" y="0"/>
                  <a:pt x="2004977" y="0"/>
                </a:cubicBezTo>
                <a:lnTo>
                  <a:pt x="1770072" y="0"/>
                </a:lnTo>
                <a:cubicBezTo>
                  <a:pt x="1752249" y="0"/>
                  <a:pt x="1737804" y="14528"/>
                  <a:pt x="1737804" y="32448"/>
                </a:cubicBezTo>
                <a:cubicBezTo>
                  <a:pt x="1738611" y="38182"/>
                  <a:pt x="1739041" y="43963"/>
                  <a:pt x="1739095" y="49754"/>
                </a:cubicBezTo>
                <a:cubicBezTo>
                  <a:pt x="1739278" y="122154"/>
                  <a:pt x="1681057" y="180990"/>
                  <a:pt x="1609058" y="181170"/>
                </a:cubicBezTo>
                <a:lnTo>
                  <a:pt x="624908" y="181170"/>
                </a:lnTo>
                <a:cubicBezTo>
                  <a:pt x="552973" y="181534"/>
                  <a:pt x="494364" y="123188"/>
                  <a:pt x="494001" y="50849"/>
                </a:cubicBezTo>
                <a:cubicBezTo>
                  <a:pt x="493977" y="45895"/>
                  <a:pt x="494230" y="40943"/>
                  <a:pt x="494764" y="36018"/>
                </a:cubicBezTo>
                <a:lnTo>
                  <a:pt x="494764" y="32448"/>
                </a:lnTo>
                <a:cubicBezTo>
                  <a:pt x="494764" y="14528"/>
                  <a:pt x="480318" y="0"/>
                  <a:pt x="462497" y="0"/>
                </a:cubicBezTo>
                <a:lnTo>
                  <a:pt x="228237" y="0"/>
                </a:lnTo>
                <a:close/>
              </a:path>
            </a:pathLst>
          </a:cu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1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4" lvl="0" indent="-228604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42303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644291"/>
            <a:ext cx="5569422" cy="5569423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7230236" y="-935"/>
            <a:ext cx="4961765" cy="2892794"/>
            <a:chOff x="7239008" y="999"/>
            <a:chExt cx="4961765" cy="2892794"/>
          </a:xfrm>
        </p:grpSpPr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932D6109-A8A1-43E9-A7AE-AA48C2C31BA5}"/>
                </a:ext>
              </a:extLst>
            </p:cNvPr>
            <p:cNvSpPr/>
            <p:nvPr/>
          </p:nvSpPr>
          <p:spPr>
            <a:xfrm>
              <a:off x="8479204" y="827687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33EBAFA1-EFC8-495F-BCD6-BE4EB9185DC6}"/>
                </a:ext>
              </a:extLst>
            </p:cNvPr>
            <p:cNvSpPr/>
            <p:nvPr/>
          </p:nvSpPr>
          <p:spPr>
            <a:xfrm>
              <a:off x="10546087" y="414179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6C7BBB59-47A5-4A40-8191-24ABF08A5E82}"/>
                </a:ext>
              </a:extLst>
            </p:cNvPr>
            <p:cNvSpPr/>
            <p:nvPr/>
          </p:nvSpPr>
          <p:spPr>
            <a:xfrm>
              <a:off x="9305891" y="99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2603 h 1778749"/>
                <a:gd name="connsiteX3" fmla="*/ 1186147 w 1778749"/>
                <a:gd name="connsiteY3" fmla="*/ 592603 h 1778749"/>
                <a:gd name="connsiteX4" fmla="*/ 1186147 w 1778749"/>
                <a:gd name="connsiteY4" fmla="*/ 1778750 h 1778749"/>
                <a:gd name="connsiteX5" fmla="*/ 1778750 w 1778749"/>
                <a:gd name="connsiteY5" fmla="*/ 1185676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2603"/>
                  </a:lnTo>
                  <a:lnTo>
                    <a:pt x="1186147" y="592603"/>
                  </a:lnTo>
                  <a:lnTo>
                    <a:pt x="1186147" y="1778750"/>
                  </a:lnTo>
                  <a:lnTo>
                    <a:pt x="1778750" y="11856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75207CCA-B811-4758-B936-6FA3657A6F74}"/>
                </a:ext>
              </a:extLst>
            </p:cNvPr>
            <p:cNvSpPr/>
            <p:nvPr/>
          </p:nvSpPr>
          <p:spPr>
            <a:xfrm>
              <a:off x="7239008" y="41417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2" name="Полилиния: фигура 30">
              <a:extLst>
                <a:ext uri="{FF2B5EF4-FFF2-40B4-BE49-F238E27FC236}">
                  <a16:creationId xmlns:a16="http://schemas.microsoft.com/office/drawing/2014/main" id="{33EBAFA1-EFC8-495F-BCD6-BE4EB9185DC6}"/>
                </a:ext>
              </a:extLst>
            </p:cNvPr>
            <p:cNvSpPr/>
            <p:nvPr userDrawn="1"/>
          </p:nvSpPr>
          <p:spPr>
            <a:xfrm>
              <a:off x="10960578" y="1653270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rgbClr val="FF0000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</p:spTree>
    <p:extLst>
      <p:ext uri="{BB962C8B-B14F-4D97-AF65-F5344CB8AC3E}">
        <p14:creationId xmlns:p14="http://schemas.microsoft.com/office/powerpoint/2010/main" val="21263696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5300" y="1371599"/>
            <a:ext cx="4114804" cy="4114802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15910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6" y="942402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5" y="2"/>
            <a:ext cx="1874018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9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5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5" y="3840694"/>
            <a:ext cx="1874018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defTabSz="4572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61" y="2990705"/>
            <a:ext cx="849740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7" y="1450715"/>
            <a:ext cx="3072828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5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4" y="2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2" y="2"/>
            <a:ext cx="2133566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1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1"/>
            <a:ext cx="3161333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9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33696549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1341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1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4069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86798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3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55504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341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5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24069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7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86798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8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55504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10060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круги 2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1"/>
            <a:ext cx="3161333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9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19926558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 с диагональной суперграфик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3" y="647762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4001405"/>
            <a:ext cx="6894453" cy="1579150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5401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80954DCA-50B7-425B-AD94-499C9D0C5683}"/>
              </a:ext>
            </a:extLst>
          </p:cNvPr>
          <p:cNvGrpSpPr/>
          <p:nvPr userDrawn="1"/>
        </p:nvGrpSpPr>
        <p:grpSpPr>
          <a:xfrm>
            <a:off x="7717484" y="0"/>
            <a:ext cx="4516612" cy="6858000"/>
            <a:chOff x="7717485" y="0"/>
            <a:chExt cx="4516612" cy="6858000"/>
          </a:xfrm>
        </p:grpSpPr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1F9D04FD-05EC-421E-8EBE-BC24460CAF02}"/>
                </a:ext>
              </a:extLst>
            </p:cNvPr>
            <p:cNvSpPr/>
            <p:nvPr/>
          </p:nvSpPr>
          <p:spPr>
            <a:xfrm>
              <a:off x="11107241" y="1262752"/>
              <a:ext cx="1084759" cy="1084759"/>
            </a:xfrm>
            <a:custGeom>
              <a:avLst/>
              <a:gdLst>
                <a:gd name="connsiteX0" fmla="*/ 1084759 w 1084759"/>
                <a:gd name="connsiteY0" fmla="*/ 0 h 1084759"/>
                <a:gd name="connsiteX1" fmla="*/ 1084759 w 1084759"/>
                <a:gd name="connsiteY1" fmla="*/ 751748 h 1084759"/>
                <a:gd name="connsiteX2" fmla="*/ 751748 w 1084759"/>
                <a:gd name="connsiteY2" fmla="*/ 1084759 h 1084759"/>
                <a:gd name="connsiteX3" fmla="*/ 0 w 1084759"/>
                <a:gd name="connsiteY3" fmla="*/ 1084759 h 1084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759" h="1084759">
                  <a:moveTo>
                    <a:pt x="1084759" y="0"/>
                  </a:moveTo>
                  <a:lnTo>
                    <a:pt x="1084759" y="751748"/>
                  </a:lnTo>
                  <a:lnTo>
                    <a:pt x="751748" y="1084759"/>
                  </a:lnTo>
                  <a:lnTo>
                    <a:pt x="0" y="1084759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1" b="0" i="0" u="none" strike="noStrike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EB3AA24E-9782-494D-927F-25ABDA14ECB0}"/>
                </a:ext>
              </a:extLst>
            </p:cNvPr>
            <p:cNvSpPr/>
            <p:nvPr/>
          </p:nvSpPr>
          <p:spPr>
            <a:xfrm>
              <a:off x="9603745" y="0"/>
              <a:ext cx="2588255" cy="2347511"/>
            </a:xfrm>
            <a:custGeom>
              <a:avLst/>
              <a:gdLst>
                <a:gd name="connsiteX0" fmla="*/ 2347511 w 2588255"/>
                <a:gd name="connsiteY0" fmla="*/ 0 h 2347511"/>
                <a:gd name="connsiteX1" fmla="*/ 2588255 w 2588255"/>
                <a:gd name="connsiteY1" fmla="*/ 0 h 2347511"/>
                <a:gd name="connsiteX2" fmla="*/ 2588255 w 2588255"/>
                <a:gd name="connsiteY2" fmla="*/ 511004 h 2347511"/>
                <a:gd name="connsiteX3" fmla="*/ 751748 w 2588255"/>
                <a:gd name="connsiteY3" fmla="*/ 2347511 h 2347511"/>
                <a:gd name="connsiteX4" fmla="*/ 0 w 2588255"/>
                <a:gd name="connsiteY4" fmla="*/ 2347511 h 234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8255" h="2347511">
                  <a:moveTo>
                    <a:pt x="2347511" y="0"/>
                  </a:moveTo>
                  <a:lnTo>
                    <a:pt x="2588255" y="0"/>
                  </a:lnTo>
                  <a:lnTo>
                    <a:pt x="2588255" y="511004"/>
                  </a:lnTo>
                  <a:lnTo>
                    <a:pt x="751748" y="2347511"/>
                  </a:lnTo>
                  <a:lnTo>
                    <a:pt x="0" y="2347511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6DF5A6D3-B885-4CCF-B592-92A4F3DD1482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3FB29626-E51C-4D87-B331-632573688CF5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062E36A0-B7D5-477A-82B1-D58136CDD873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139D6965-C597-435F-B6D4-25846A927C8B}"/>
                </a:ext>
              </a:extLst>
            </p:cNvPr>
            <p:cNvSpPr/>
            <p:nvPr/>
          </p:nvSpPr>
          <p:spPr>
            <a:xfrm>
              <a:off x="10731367" y="3517570"/>
              <a:ext cx="1460633" cy="1461058"/>
            </a:xfrm>
            <a:custGeom>
              <a:avLst/>
              <a:gdLst>
                <a:gd name="connsiteX0" fmla="*/ 1460633 w 1460633"/>
                <a:gd name="connsiteY0" fmla="*/ 0 h 1461058"/>
                <a:gd name="connsiteX1" fmla="*/ 1460633 w 1460633"/>
                <a:gd name="connsiteY1" fmla="*/ 751967 h 1461058"/>
                <a:gd name="connsiteX2" fmla="*/ 751748 w 1460633"/>
                <a:gd name="connsiteY2" fmla="*/ 1461058 h 1461058"/>
                <a:gd name="connsiteX3" fmla="*/ 0 w 1460633"/>
                <a:gd name="connsiteY3" fmla="*/ 1461058 h 14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633" h="1461058">
                  <a:moveTo>
                    <a:pt x="1460633" y="0"/>
                  </a:moveTo>
                  <a:lnTo>
                    <a:pt x="1460633" y="751967"/>
                  </a:lnTo>
                  <a:lnTo>
                    <a:pt x="751748" y="1461058"/>
                  </a:lnTo>
                  <a:lnTo>
                    <a:pt x="0" y="1461058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A17D6506-F3EA-4216-99E2-EF7BF846F5D4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47711E85-B407-4B48-89DE-FB283F80F9EF}"/>
                </a:ext>
              </a:extLst>
            </p:cNvPr>
            <p:cNvSpPr/>
            <p:nvPr/>
          </p:nvSpPr>
          <p:spPr>
            <a:xfrm>
              <a:off x="9235774" y="2352272"/>
              <a:ext cx="2958606" cy="2631119"/>
            </a:xfrm>
            <a:custGeom>
              <a:avLst/>
              <a:gdLst>
                <a:gd name="connsiteX0" fmla="*/ 2631119 w 2984800"/>
                <a:gd name="connsiteY0" fmla="*/ 0 h 2631119"/>
                <a:gd name="connsiteX1" fmla="*/ 2984800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93531"/>
                <a:gd name="connsiteY0" fmla="*/ 0 h 2631119"/>
                <a:gd name="connsiteX1" fmla="*/ 2991943 w 2993531"/>
                <a:gd name="connsiteY1" fmla="*/ 0 h 2631119"/>
                <a:gd name="connsiteX2" fmla="*/ 2956225 w 2993531"/>
                <a:gd name="connsiteY2" fmla="*/ 429023 h 2631119"/>
                <a:gd name="connsiteX3" fmla="*/ 751748 w 2993531"/>
                <a:gd name="connsiteY3" fmla="*/ 2631119 h 2631119"/>
                <a:gd name="connsiteX4" fmla="*/ 0 w 2993531"/>
                <a:gd name="connsiteY4" fmla="*/ 2631119 h 2631119"/>
                <a:gd name="connsiteX5" fmla="*/ 2631119 w 2993531"/>
                <a:gd name="connsiteY5" fmla="*/ 0 h 2631119"/>
                <a:gd name="connsiteX0" fmla="*/ 2631119 w 2991943"/>
                <a:gd name="connsiteY0" fmla="*/ 0 h 2631119"/>
                <a:gd name="connsiteX1" fmla="*/ 2991943 w 2991943"/>
                <a:gd name="connsiteY1" fmla="*/ 0 h 2631119"/>
                <a:gd name="connsiteX2" fmla="*/ 2956225 w 2991943"/>
                <a:gd name="connsiteY2" fmla="*/ 429023 h 2631119"/>
                <a:gd name="connsiteX3" fmla="*/ 751748 w 2991943"/>
                <a:gd name="connsiteY3" fmla="*/ 2631119 h 2631119"/>
                <a:gd name="connsiteX4" fmla="*/ 0 w 2991943"/>
                <a:gd name="connsiteY4" fmla="*/ 2631119 h 2631119"/>
                <a:gd name="connsiteX5" fmla="*/ 2631119 w 2991943"/>
                <a:gd name="connsiteY5" fmla="*/ 0 h 2631119"/>
                <a:gd name="connsiteX0" fmla="*/ 2631119 w 2958606"/>
                <a:gd name="connsiteY0" fmla="*/ 0 h 2631119"/>
                <a:gd name="connsiteX1" fmla="*/ 2958606 w 2958606"/>
                <a:gd name="connsiteY1" fmla="*/ 0 h 2631119"/>
                <a:gd name="connsiteX2" fmla="*/ 2956225 w 2958606"/>
                <a:gd name="connsiteY2" fmla="*/ 429023 h 2631119"/>
                <a:gd name="connsiteX3" fmla="*/ 751748 w 2958606"/>
                <a:gd name="connsiteY3" fmla="*/ 2631119 h 2631119"/>
                <a:gd name="connsiteX4" fmla="*/ 0 w 2958606"/>
                <a:gd name="connsiteY4" fmla="*/ 2631119 h 2631119"/>
                <a:gd name="connsiteX5" fmla="*/ 2631119 w 2958606"/>
                <a:gd name="connsiteY5" fmla="*/ 0 h 263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8606" h="2631119">
                  <a:moveTo>
                    <a:pt x="2631119" y="0"/>
                  </a:moveTo>
                  <a:lnTo>
                    <a:pt x="2958606" y="0"/>
                  </a:lnTo>
                  <a:cubicBezTo>
                    <a:pt x="2957812" y="143008"/>
                    <a:pt x="2957019" y="286015"/>
                    <a:pt x="2956225" y="429023"/>
                  </a:cubicBezTo>
                  <a:lnTo>
                    <a:pt x="751748" y="2631119"/>
                  </a:lnTo>
                  <a:lnTo>
                    <a:pt x="0" y="2631119"/>
                  </a:lnTo>
                  <a:lnTo>
                    <a:pt x="2631119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28130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E389DCC-8568-4D78-BB75-82983A32AC59}"/>
              </a:ext>
            </a:extLst>
          </p:cNvPr>
          <p:cNvGrpSpPr/>
          <p:nvPr userDrawn="1"/>
        </p:nvGrpSpPr>
        <p:grpSpPr>
          <a:xfrm>
            <a:off x="-13671" y="1"/>
            <a:ext cx="12205671" cy="6858001"/>
            <a:chOff x="-13671" y="0"/>
            <a:chExt cx="12205671" cy="6858001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B85A1A7C-F74A-452F-8FEA-3F27AD259ADC}"/>
                </a:ext>
              </a:extLst>
            </p:cNvPr>
            <p:cNvSpPr/>
            <p:nvPr userDrawn="1"/>
          </p:nvSpPr>
          <p:spPr>
            <a:xfrm>
              <a:off x="0" y="2606474"/>
              <a:ext cx="1600250" cy="4251526"/>
            </a:xfrm>
            <a:custGeom>
              <a:avLst/>
              <a:gdLst>
                <a:gd name="connsiteX0" fmla="*/ 0 w 1600250"/>
                <a:gd name="connsiteY0" fmla="*/ 0 h 4251526"/>
                <a:gd name="connsiteX1" fmla="*/ 1600250 w 1600250"/>
                <a:gd name="connsiteY1" fmla="*/ 0 h 4251526"/>
                <a:gd name="connsiteX2" fmla="*/ 1600250 w 1600250"/>
                <a:gd name="connsiteY2" fmla="*/ 3227840 h 4251526"/>
                <a:gd name="connsiteX3" fmla="*/ 576564 w 1600250"/>
                <a:gd name="connsiteY3" fmla="*/ 4251526 h 4251526"/>
                <a:gd name="connsiteX4" fmla="*/ 0 w 1600250"/>
                <a:gd name="connsiteY4" fmla="*/ 4251526 h 425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50" h="4251526">
                  <a:moveTo>
                    <a:pt x="0" y="0"/>
                  </a:moveTo>
                  <a:lnTo>
                    <a:pt x="1600250" y="0"/>
                  </a:lnTo>
                  <a:lnTo>
                    <a:pt x="1600250" y="3227840"/>
                  </a:lnTo>
                  <a:lnTo>
                    <a:pt x="576564" y="4251526"/>
                  </a:lnTo>
                  <a:lnTo>
                    <a:pt x="0" y="425152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8BC987C9-F278-4C15-8EFD-F301898FF0DE}"/>
                </a:ext>
              </a:extLst>
            </p:cNvPr>
            <p:cNvSpPr/>
            <p:nvPr userDrawn="1"/>
          </p:nvSpPr>
          <p:spPr>
            <a:xfrm>
              <a:off x="1600250" y="4220394"/>
              <a:ext cx="4841760" cy="2637607"/>
            </a:xfrm>
            <a:custGeom>
              <a:avLst/>
              <a:gdLst>
                <a:gd name="connsiteX0" fmla="*/ 1613920 w 4841760"/>
                <a:gd name="connsiteY0" fmla="*/ 0 h 2637607"/>
                <a:gd name="connsiteX1" fmla="*/ 4841760 w 4841760"/>
                <a:gd name="connsiteY1" fmla="*/ 0 h 2637607"/>
                <a:gd name="connsiteX2" fmla="*/ 4841760 w 4841760"/>
                <a:gd name="connsiteY2" fmla="*/ 2637607 h 2637607"/>
                <a:gd name="connsiteX3" fmla="*/ 3227840 w 4841760"/>
                <a:gd name="connsiteY3" fmla="*/ 2637607 h 2637607"/>
                <a:gd name="connsiteX4" fmla="*/ 3227840 w 4841760"/>
                <a:gd name="connsiteY4" fmla="*/ 1613920 h 2637607"/>
                <a:gd name="connsiteX5" fmla="*/ 0 w 4841760"/>
                <a:gd name="connsiteY5" fmla="*/ 1613920 h 263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1760" h="2637607">
                  <a:moveTo>
                    <a:pt x="1613920" y="0"/>
                  </a:moveTo>
                  <a:lnTo>
                    <a:pt x="4841760" y="0"/>
                  </a:lnTo>
                  <a:lnTo>
                    <a:pt x="4841760" y="2637607"/>
                  </a:lnTo>
                  <a:lnTo>
                    <a:pt x="3227840" y="2637607"/>
                  </a:lnTo>
                  <a:lnTo>
                    <a:pt x="3227840" y="1613920"/>
                  </a:lnTo>
                  <a:lnTo>
                    <a:pt x="0" y="161392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93E47FB9-3068-4AF7-952A-7F4499AD883E}"/>
                </a:ext>
              </a:extLst>
            </p:cNvPr>
            <p:cNvSpPr/>
            <p:nvPr userDrawn="1"/>
          </p:nvSpPr>
          <p:spPr>
            <a:xfrm>
              <a:off x="4828089" y="992553"/>
              <a:ext cx="4841760" cy="4841759"/>
            </a:xfrm>
            <a:custGeom>
              <a:avLst/>
              <a:gdLst>
                <a:gd name="connsiteX0" fmla="*/ 4796790 w 4796790"/>
                <a:gd name="connsiteY0" fmla="*/ 0 h 4796789"/>
                <a:gd name="connsiteX1" fmla="*/ 1598930 w 4796790"/>
                <a:gd name="connsiteY1" fmla="*/ 0 h 4796789"/>
                <a:gd name="connsiteX2" fmla="*/ 0 w 4796790"/>
                <a:gd name="connsiteY2" fmla="*/ 1598930 h 4796789"/>
                <a:gd name="connsiteX3" fmla="*/ 3197860 w 4796790"/>
                <a:gd name="connsiteY3" fmla="*/ 1598930 h 4796789"/>
                <a:gd name="connsiteX4" fmla="*/ 3197860 w 4796790"/>
                <a:gd name="connsiteY4" fmla="*/ 4796790 h 4796789"/>
                <a:gd name="connsiteX5" fmla="*/ 4796790 w 4796790"/>
                <a:gd name="connsiteY5" fmla="*/ 3197860 h 479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90" h="4796789">
                  <a:moveTo>
                    <a:pt x="4796790" y="0"/>
                  </a:moveTo>
                  <a:lnTo>
                    <a:pt x="1598930" y="0"/>
                  </a:lnTo>
                  <a:lnTo>
                    <a:pt x="0" y="1598930"/>
                  </a:lnTo>
                  <a:lnTo>
                    <a:pt x="3197860" y="1598930"/>
                  </a:lnTo>
                  <a:lnTo>
                    <a:pt x="3197860" y="4796790"/>
                  </a:lnTo>
                  <a:lnTo>
                    <a:pt x="4796790" y="319786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8D229612-0641-4976-9F58-EB1D7BC466BD}"/>
                </a:ext>
              </a:extLst>
            </p:cNvPr>
            <p:cNvSpPr/>
            <p:nvPr userDrawn="1"/>
          </p:nvSpPr>
          <p:spPr>
            <a:xfrm>
              <a:off x="-13671" y="29842"/>
              <a:ext cx="4841759" cy="4190551"/>
            </a:xfrm>
            <a:custGeom>
              <a:avLst/>
              <a:gdLst>
                <a:gd name="connsiteX0" fmla="*/ 953135 w 4796789"/>
                <a:gd name="connsiteY0" fmla="*/ 0 h 4151629"/>
                <a:gd name="connsiteX1" fmla="*/ 0 w 4796789"/>
                <a:gd name="connsiteY1" fmla="*/ 953770 h 4151629"/>
                <a:gd name="connsiteX2" fmla="*/ 3197860 w 4796789"/>
                <a:gd name="connsiteY2" fmla="*/ 953770 h 4151629"/>
                <a:gd name="connsiteX3" fmla="*/ 3197860 w 4796789"/>
                <a:gd name="connsiteY3" fmla="*/ 4151630 h 4151629"/>
                <a:gd name="connsiteX4" fmla="*/ 4796790 w 4796789"/>
                <a:gd name="connsiteY4" fmla="*/ 2552700 h 4151629"/>
                <a:gd name="connsiteX5" fmla="*/ 4796790 w 4796789"/>
                <a:gd name="connsiteY5" fmla="*/ 0 h 415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89" h="4151629">
                  <a:moveTo>
                    <a:pt x="953135" y="0"/>
                  </a:moveTo>
                  <a:lnTo>
                    <a:pt x="0" y="953770"/>
                  </a:lnTo>
                  <a:lnTo>
                    <a:pt x="3197860" y="953770"/>
                  </a:lnTo>
                  <a:lnTo>
                    <a:pt x="3197860" y="4151630"/>
                  </a:lnTo>
                  <a:lnTo>
                    <a:pt x="4796790" y="2552700"/>
                  </a:lnTo>
                  <a:lnTo>
                    <a:pt x="479679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D8A8FD79-0011-4324-935E-FC2066224F52}"/>
                </a:ext>
              </a:extLst>
            </p:cNvPr>
            <p:cNvSpPr/>
            <p:nvPr userDrawn="1"/>
          </p:nvSpPr>
          <p:spPr>
            <a:xfrm>
              <a:off x="9669849" y="2606474"/>
              <a:ext cx="2522151" cy="1613919"/>
            </a:xfrm>
            <a:custGeom>
              <a:avLst/>
              <a:gdLst>
                <a:gd name="connsiteX0" fmla="*/ 1598930 w 2498725"/>
                <a:gd name="connsiteY0" fmla="*/ 0 h 1598929"/>
                <a:gd name="connsiteX1" fmla="*/ 0 w 2498725"/>
                <a:gd name="connsiteY1" fmla="*/ 1598930 h 1598929"/>
                <a:gd name="connsiteX2" fmla="*/ 2498725 w 2498725"/>
                <a:gd name="connsiteY2" fmla="*/ 1598930 h 1598929"/>
                <a:gd name="connsiteX3" fmla="*/ 2498725 w 2498725"/>
                <a:gd name="connsiteY3" fmla="*/ 0 h 159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725" h="1598929">
                  <a:moveTo>
                    <a:pt x="1598930" y="0"/>
                  </a:moveTo>
                  <a:lnTo>
                    <a:pt x="0" y="1598930"/>
                  </a:lnTo>
                  <a:lnTo>
                    <a:pt x="2498725" y="1598930"/>
                  </a:lnTo>
                  <a:lnTo>
                    <a:pt x="249872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ADC61937-7F9C-4CB3-81AC-301803254390}"/>
                </a:ext>
              </a:extLst>
            </p:cNvPr>
            <p:cNvSpPr/>
            <p:nvPr userDrawn="1"/>
          </p:nvSpPr>
          <p:spPr>
            <a:xfrm>
              <a:off x="11283769" y="29842"/>
              <a:ext cx="908230" cy="2576632"/>
            </a:xfrm>
            <a:custGeom>
              <a:avLst/>
              <a:gdLst>
                <a:gd name="connsiteX0" fmla="*/ 0 w 899794"/>
                <a:gd name="connsiteY0" fmla="*/ 0 h 2552700"/>
                <a:gd name="connsiteX1" fmla="*/ 0 w 899794"/>
                <a:gd name="connsiteY1" fmla="*/ 2552700 h 2552700"/>
                <a:gd name="connsiteX2" fmla="*/ 899795 w 899794"/>
                <a:gd name="connsiteY2" fmla="*/ 1652905 h 2552700"/>
                <a:gd name="connsiteX3" fmla="*/ 899795 w 899794"/>
                <a:gd name="connsiteY3" fmla="*/ 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794" h="2552700">
                  <a:moveTo>
                    <a:pt x="0" y="0"/>
                  </a:moveTo>
                  <a:lnTo>
                    <a:pt x="0" y="2552700"/>
                  </a:lnTo>
                  <a:lnTo>
                    <a:pt x="899795" y="1652905"/>
                  </a:lnTo>
                  <a:lnTo>
                    <a:pt x="8997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FBC656CA-9B99-4772-90C6-CD92B491B611}"/>
                </a:ext>
              </a:extLst>
            </p:cNvPr>
            <p:cNvSpPr/>
            <p:nvPr userDrawn="1"/>
          </p:nvSpPr>
          <p:spPr>
            <a:xfrm>
              <a:off x="6442009" y="0"/>
              <a:ext cx="1007295" cy="1007295"/>
            </a:xfrm>
            <a:custGeom>
              <a:avLst/>
              <a:gdLst>
                <a:gd name="connsiteX0" fmla="*/ 0 w 1007295"/>
                <a:gd name="connsiteY0" fmla="*/ 0 h 1007295"/>
                <a:gd name="connsiteX1" fmla="*/ 1007295 w 1007295"/>
                <a:gd name="connsiteY1" fmla="*/ 0 h 1007295"/>
                <a:gd name="connsiteX2" fmla="*/ 0 w 1007295"/>
                <a:gd name="connsiteY2" fmla="*/ 1007295 h 100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295" h="1007295">
                  <a:moveTo>
                    <a:pt x="0" y="0"/>
                  </a:moveTo>
                  <a:lnTo>
                    <a:pt x="1007295" y="0"/>
                  </a:lnTo>
                  <a:lnTo>
                    <a:pt x="0" y="1007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32216AA9-87BB-4506-902D-19956F21F168}"/>
                </a:ext>
              </a:extLst>
            </p:cNvPr>
            <p:cNvSpPr/>
            <p:nvPr userDrawn="1"/>
          </p:nvSpPr>
          <p:spPr>
            <a:xfrm>
              <a:off x="7032242" y="5834312"/>
              <a:ext cx="4251528" cy="1023688"/>
            </a:xfrm>
            <a:custGeom>
              <a:avLst/>
              <a:gdLst>
                <a:gd name="connsiteX0" fmla="*/ 1023688 w 4251528"/>
                <a:gd name="connsiteY0" fmla="*/ 0 h 1023688"/>
                <a:gd name="connsiteX1" fmla="*/ 4251528 w 4251528"/>
                <a:gd name="connsiteY1" fmla="*/ 0 h 1023688"/>
                <a:gd name="connsiteX2" fmla="*/ 4251528 w 4251528"/>
                <a:gd name="connsiteY2" fmla="*/ 1023688 h 1023688"/>
                <a:gd name="connsiteX3" fmla="*/ 0 w 4251528"/>
                <a:gd name="connsiteY3" fmla="*/ 1023688 h 102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1528" h="1023688">
                  <a:moveTo>
                    <a:pt x="1023688" y="0"/>
                  </a:moveTo>
                  <a:lnTo>
                    <a:pt x="4251528" y="0"/>
                  </a:lnTo>
                  <a:lnTo>
                    <a:pt x="4251528" y="1023688"/>
                  </a:lnTo>
                  <a:lnTo>
                    <a:pt x="0" y="10236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sp>
        <p:nvSpPr>
          <p:cNvPr id="23" name="Текст 39">
            <a:extLst>
              <a:ext uri="{FF2B5EF4-FFF2-40B4-BE49-F238E27FC236}">
                <a16:creationId xmlns:a16="http://schemas.microsoft.com/office/drawing/2014/main" id="{A7FA4B40-C0B0-471E-9072-2FD3537303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30" y="4001405"/>
            <a:ext cx="6894453" cy="1579150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5401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4" name="Рисунок 3">
            <a:extLst>
              <a:ext uri="{FF2B5EF4-FFF2-40B4-BE49-F238E27FC236}">
                <a16:creationId xmlns:a16="http://schemas.microsoft.com/office/drawing/2014/main" id="{74933002-3000-40D8-81B7-1FDD30C961DD}"/>
              </a:ext>
            </a:extLst>
          </p:cNvPr>
          <p:cNvGrpSpPr/>
          <p:nvPr userDrawn="1"/>
        </p:nvGrpSpPr>
        <p:grpSpPr>
          <a:xfrm>
            <a:off x="403203" y="647762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A8641FEC-D1E4-461A-9A09-1ACD28B60C9D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ABD9B356-E160-484B-8045-6B21E5E89B6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</p:spTree>
    <p:extLst>
      <p:ext uri="{BB962C8B-B14F-4D97-AF65-F5344CB8AC3E}">
        <p14:creationId xmlns:p14="http://schemas.microsoft.com/office/powerpoint/2010/main" val="16642668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ент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5"/>
            <a:ext cx="10379284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AF5ADA-9F79-49F0-A830-9B5AD5F647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6796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1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64343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5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90542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1" y="1089025"/>
            <a:ext cx="4607893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079788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7" y="1089025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123560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B587269-F1BD-47D4-AA9E-1B46FFE1542F}"/>
              </a:ext>
            </a:extLst>
          </p:cNvPr>
          <p:cNvGrpSpPr/>
          <p:nvPr userDrawn="1"/>
        </p:nvGrpSpPr>
        <p:grpSpPr>
          <a:xfrm>
            <a:off x="-13671" y="1"/>
            <a:ext cx="12205671" cy="6858001"/>
            <a:chOff x="-13671" y="0"/>
            <a:chExt cx="12205671" cy="6858001"/>
          </a:xfrm>
        </p:grpSpPr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EA969EBF-432C-4515-8C14-8EEA0B09C7A5}"/>
                </a:ext>
              </a:extLst>
            </p:cNvPr>
            <p:cNvSpPr/>
            <p:nvPr userDrawn="1"/>
          </p:nvSpPr>
          <p:spPr>
            <a:xfrm>
              <a:off x="0" y="2606474"/>
              <a:ext cx="1600250" cy="4251526"/>
            </a:xfrm>
            <a:custGeom>
              <a:avLst/>
              <a:gdLst>
                <a:gd name="connsiteX0" fmla="*/ 0 w 1600250"/>
                <a:gd name="connsiteY0" fmla="*/ 0 h 4251526"/>
                <a:gd name="connsiteX1" fmla="*/ 1600250 w 1600250"/>
                <a:gd name="connsiteY1" fmla="*/ 0 h 4251526"/>
                <a:gd name="connsiteX2" fmla="*/ 1600250 w 1600250"/>
                <a:gd name="connsiteY2" fmla="*/ 3227840 h 4251526"/>
                <a:gd name="connsiteX3" fmla="*/ 576564 w 1600250"/>
                <a:gd name="connsiteY3" fmla="*/ 4251526 h 4251526"/>
                <a:gd name="connsiteX4" fmla="*/ 0 w 1600250"/>
                <a:gd name="connsiteY4" fmla="*/ 4251526 h 425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50" h="4251526">
                  <a:moveTo>
                    <a:pt x="0" y="0"/>
                  </a:moveTo>
                  <a:lnTo>
                    <a:pt x="1600250" y="0"/>
                  </a:lnTo>
                  <a:lnTo>
                    <a:pt x="1600250" y="3227840"/>
                  </a:lnTo>
                  <a:lnTo>
                    <a:pt x="576564" y="4251526"/>
                  </a:lnTo>
                  <a:lnTo>
                    <a:pt x="0" y="425152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97C089B9-17D1-4CF1-A112-9CED47AC82A3}"/>
                </a:ext>
              </a:extLst>
            </p:cNvPr>
            <p:cNvSpPr/>
            <p:nvPr userDrawn="1"/>
          </p:nvSpPr>
          <p:spPr>
            <a:xfrm>
              <a:off x="1600250" y="4220394"/>
              <a:ext cx="4841760" cy="2637607"/>
            </a:xfrm>
            <a:custGeom>
              <a:avLst/>
              <a:gdLst>
                <a:gd name="connsiteX0" fmla="*/ 1613920 w 4841760"/>
                <a:gd name="connsiteY0" fmla="*/ 0 h 2637607"/>
                <a:gd name="connsiteX1" fmla="*/ 4841760 w 4841760"/>
                <a:gd name="connsiteY1" fmla="*/ 0 h 2637607"/>
                <a:gd name="connsiteX2" fmla="*/ 4841760 w 4841760"/>
                <a:gd name="connsiteY2" fmla="*/ 2637607 h 2637607"/>
                <a:gd name="connsiteX3" fmla="*/ 3227840 w 4841760"/>
                <a:gd name="connsiteY3" fmla="*/ 2637607 h 2637607"/>
                <a:gd name="connsiteX4" fmla="*/ 3227840 w 4841760"/>
                <a:gd name="connsiteY4" fmla="*/ 1613920 h 2637607"/>
                <a:gd name="connsiteX5" fmla="*/ 0 w 4841760"/>
                <a:gd name="connsiteY5" fmla="*/ 1613920 h 263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1760" h="2637607">
                  <a:moveTo>
                    <a:pt x="1613920" y="0"/>
                  </a:moveTo>
                  <a:lnTo>
                    <a:pt x="4841760" y="0"/>
                  </a:lnTo>
                  <a:lnTo>
                    <a:pt x="4841760" y="2637607"/>
                  </a:lnTo>
                  <a:lnTo>
                    <a:pt x="3227840" y="2637607"/>
                  </a:lnTo>
                  <a:lnTo>
                    <a:pt x="3227840" y="1613920"/>
                  </a:lnTo>
                  <a:lnTo>
                    <a:pt x="0" y="161392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0492A479-D7D5-4FFD-83AE-3B2D8F22EA5C}"/>
                </a:ext>
              </a:extLst>
            </p:cNvPr>
            <p:cNvSpPr/>
            <p:nvPr userDrawn="1"/>
          </p:nvSpPr>
          <p:spPr>
            <a:xfrm>
              <a:off x="4828089" y="992553"/>
              <a:ext cx="4841760" cy="4841759"/>
            </a:xfrm>
            <a:custGeom>
              <a:avLst/>
              <a:gdLst>
                <a:gd name="connsiteX0" fmla="*/ 4796790 w 4796790"/>
                <a:gd name="connsiteY0" fmla="*/ 0 h 4796789"/>
                <a:gd name="connsiteX1" fmla="*/ 1598930 w 4796790"/>
                <a:gd name="connsiteY1" fmla="*/ 0 h 4796789"/>
                <a:gd name="connsiteX2" fmla="*/ 0 w 4796790"/>
                <a:gd name="connsiteY2" fmla="*/ 1598930 h 4796789"/>
                <a:gd name="connsiteX3" fmla="*/ 3197860 w 4796790"/>
                <a:gd name="connsiteY3" fmla="*/ 1598930 h 4796789"/>
                <a:gd name="connsiteX4" fmla="*/ 3197860 w 4796790"/>
                <a:gd name="connsiteY4" fmla="*/ 4796790 h 4796789"/>
                <a:gd name="connsiteX5" fmla="*/ 4796790 w 4796790"/>
                <a:gd name="connsiteY5" fmla="*/ 3197860 h 479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90" h="4796789">
                  <a:moveTo>
                    <a:pt x="4796790" y="0"/>
                  </a:moveTo>
                  <a:lnTo>
                    <a:pt x="1598930" y="0"/>
                  </a:lnTo>
                  <a:lnTo>
                    <a:pt x="0" y="1598930"/>
                  </a:lnTo>
                  <a:lnTo>
                    <a:pt x="3197860" y="1598930"/>
                  </a:lnTo>
                  <a:lnTo>
                    <a:pt x="3197860" y="4796790"/>
                  </a:lnTo>
                  <a:lnTo>
                    <a:pt x="4796790" y="319786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25CF3C71-58D1-458D-B847-C4D35DC3E4A7}"/>
                </a:ext>
              </a:extLst>
            </p:cNvPr>
            <p:cNvSpPr/>
            <p:nvPr userDrawn="1"/>
          </p:nvSpPr>
          <p:spPr>
            <a:xfrm>
              <a:off x="-13671" y="29842"/>
              <a:ext cx="4841759" cy="4190551"/>
            </a:xfrm>
            <a:custGeom>
              <a:avLst/>
              <a:gdLst>
                <a:gd name="connsiteX0" fmla="*/ 953135 w 4796789"/>
                <a:gd name="connsiteY0" fmla="*/ 0 h 4151629"/>
                <a:gd name="connsiteX1" fmla="*/ 0 w 4796789"/>
                <a:gd name="connsiteY1" fmla="*/ 953770 h 4151629"/>
                <a:gd name="connsiteX2" fmla="*/ 3197860 w 4796789"/>
                <a:gd name="connsiteY2" fmla="*/ 953770 h 4151629"/>
                <a:gd name="connsiteX3" fmla="*/ 3197860 w 4796789"/>
                <a:gd name="connsiteY3" fmla="*/ 4151630 h 4151629"/>
                <a:gd name="connsiteX4" fmla="*/ 4796790 w 4796789"/>
                <a:gd name="connsiteY4" fmla="*/ 2552700 h 4151629"/>
                <a:gd name="connsiteX5" fmla="*/ 4796790 w 4796789"/>
                <a:gd name="connsiteY5" fmla="*/ 0 h 415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89" h="4151629">
                  <a:moveTo>
                    <a:pt x="953135" y="0"/>
                  </a:moveTo>
                  <a:lnTo>
                    <a:pt x="0" y="953770"/>
                  </a:lnTo>
                  <a:lnTo>
                    <a:pt x="3197860" y="953770"/>
                  </a:lnTo>
                  <a:lnTo>
                    <a:pt x="3197860" y="4151630"/>
                  </a:lnTo>
                  <a:lnTo>
                    <a:pt x="4796790" y="2552700"/>
                  </a:lnTo>
                  <a:lnTo>
                    <a:pt x="479679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E2D677B2-4C72-4DF7-8894-7BBC6A1EE9E1}"/>
                </a:ext>
              </a:extLst>
            </p:cNvPr>
            <p:cNvSpPr/>
            <p:nvPr userDrawn="1"/>
          </p:nvSpPr>
          <p:spPr>
            <a:xfrm>
              <a:off x="9669849" y="2606474"/>
              <a:ext cx="2522151" cy="1613919"/>
            </a:xfrm>
            <a:custGeom>
              <a:avLst/>
              <a:gdLst>
                <a:gd name="connsiteX0" fmla="*/ 1598930 w 2498725"/>
                <a:gd name="connsiteY0" fmla="*/ 0 h 1598929"/>
                <a:gd name="connsiteX1" fmla="*/ 0 w 2498725"/>
                <a:gd name="connsiteY1" fmla="*/ 1598930 h 1598929"/>
                <a:gd name="connsiteX2" fmla="*/ 2498725 w 2498725"/>
                <a:gd name="connsiteY2" fmla="*/ 1598930 h 1598929"/>
                <a:gd name="connsiteX3" fmla="*/ 2498725 w 2498725"/>
                <a:gd name="connsiteY3" fmla="*/ 0 h 159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725" h="1598929">
                  <a:moveTo>
                    <a:pt x="1598930" y="0"/>
                  </a:moveTo>
                  <a:lnTo>
                    <a:pt x="0" y="1598930"/>
                  </a:lnTo>
                  <a:lnTo>
                    <a:pt x="2498725" y="1598930"/>
                  </a:lnTo>
                  <a:lnTo>
                    <a:pt x="249872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BFD76563-2092-4A48-A158-A23B9032F005}"/>
                </a:ext>
              </a:extLst>
            </p:cNvPr>
            <p:cNvSpPr/>
            <p:nvPr userDrawn="1"/>
          </p:nvSpPr>
          <p:spPr>
            <a:xfrm>
              <a:off x="11283769" y="29842"/>
              <a:ext cx="908230" cy="2576632"/>
            </a:xfrm>
            <a:custGeom>
              <a:avLst/>
              <a:gdLst>
                <a:gd name="connsiteX0" fmla="*/ 0 w 899794"/>
                <a:gd name="connsiteY0" fmla="*/ 0 h 2552700"/>
                <a:gd name="connsiteX1" fmla="*/ 0 w 899794"/>
                <a:gd name="connsiteY1" fmla="*/ 2552700 h 2552700"/>
                <a:gd name="connsiteX2" fmla="*/ 899795 w 899794"/>
                <a:gd name="connsiteY2" fmla="*/ 1652905 h 2552700"/>
                <a:gd name="connsiteX3" fmla="*/ 899795 w 899794"/>
                <a:gd name="connsiteY3" fmla="*/ 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794" h="2552700">
                  <a:moveTo>
                    <a:pt x="0" y="0"/>
                  </a:moveTo>
                  <a:lnTo>
                    <a:pt x="0" y="2552700"/>
                  </a:lnTo>
                  <a:lnTo>
                    <a:pt x="899795" y="1652905"/>
                  </a:lnTo>
                  <a:lnTo>
                    <a:pt x="8997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ED36502E-D170-4C86-847C-D622CA863D2B}"/>
                </a:ext>
              </a:extLst>
            </p:cNvPr>
            <p:cNvSpPr/>
            <p:nvPr userDrawn="1"/>
          </p:nvSpPr>
          <p:spPr>
            <a:xfrm>
              <a:off x="6442009" y="0"/>
              <a:ext cx="1007295" cy="1007295"/>
            </a:xfrm>
            <a:custGeom>
              <a:avLst/>
              <a:gdLst>
                <a:gd name="connsiteX0" fmla="*/ 0 w 1007295"/>
                <a:gd name="connsiteY0" fmla="*/ 0 h 1007295"/>
                <a:gd name="connsiteX1" fmla="*/ 1007295 w 1007295"/>
                <a:gd name="connsiteY1" fmla="*/ 0 h 1007295"/>
                <a:gd name="connsiteX2" fmla="*/ 0 w 1007295"/>
                <a:gd name="connsiteY2" fmla="*/ 1007295 h 100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295" h="1007295">
                  <a:moveTo>
                    <a:pt x="0" y="0"/>
                  </a:moveTo>
                  <a:lnTo>
                    <a:pt x="1007295" y="0"/>
                  </a:lnTo>
                  <a:lnTo>
                    <a:pt x="0" y="1007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37487D10-BEBE-4419-BF19-9232C592D269}"/>
                </a:ext>
              </a:extLst>
            </p:cNvPr>
            <p:cNvSpPr/>
            <p:nvPr userDrawn="1"/>
          </p:nvSpPr>
          <p:spPr>
            <a:xfrm>
              <a:off x="7032242" y="5834312"/>
              <a:ext cx="4251528" cy="1023688"/>
            </a:xfrm>
            <a:custGeom>
              <a:avLst/>
              <a:gdLst>
                <a:gd name="connsiteX0" fmla="*/ 1023688 w 4251528"/>
                <a:gd name="connsiteY0" fmla="*/ 0 h 1023688"/>
                <a:gd name="connsiteX1" fmla="*/ 4251528 w 4251528"/>
                <a:gd name="connsiteY1" fmla="*/ 0 h 1023688"/>
                <a:gd name="connsiteX2" fmla="*/ 4251528 w 4251528"/>
                <a:gd name="connsiteY2" fmla="*/ 1023688 h 1023688"/>
                <a:gd name="connsiteX3" fmla="*/ 0 w 4251528"/>
                <a:gd name="connsiteY3" fmla="*/ 1023688 h 102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1528" h="1023688">
                  <a:moveTo>
                    <a:pt x="1023688" y="0"/>
                  </a:moveTo>
                  <a:lnTo>
                    <a:pt x="4251528" y="0"/>
                  </a:lnTo>
                  <a:lnTo>
                    <a:pt x="4251528" y="1023688"/>
                  </a:lnTo>
                  <a:lnTo>
                    <a:pt x="0" y="10236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801"/>
            </a:p>
          </p:txBody>
        </p: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5" y="6561349"/>
            <a:ext cx="648073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z="1051" smtClean="0">
                <a:solidFill>
                  <a:schemeClr val="bg1"/>
                </a:solidFill>
              </a:rPr>
              <a:pPr/>
              <a:t>‹#›</a:t>
            </a:fld>
            <a:endParaRPr lang="ru-RU" sz="1051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6CF77E-9035-4C6B-AFB6-786FB0F42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5"/>
            <a:ext cx="10379284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507375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6B2B366-66DD-163C-A2F1-69811C8C6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AF2F6-9428-E740-A8FB-4FA137BE5B70}" type="datetimeFigureOut">
              <a:rPr lang="ru-RU" smtClean="0"/>
              <a:t>04.09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717D71A-DB90-2FD6-DEAD-C00F20917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A7A7D27-7883-4D84-2976-9779FC842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8B748-8D27-0B4F-88C8-C9A114BB88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676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5366" y="4783046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406141" y="4783046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62895" y="4783046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9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938" y="1266453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25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06141" y="1262904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62895" y="1262904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13672" y="1262904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5366" y="3025963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6141" y="3025963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62895" y="3025963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3672" y="3025963"/>
            <a:ext cx="565897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59558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95364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70222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80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80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3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5" y="6561349"/>
            <a:ext cx="648073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8" y="6595989"/>
            <a:ext cx="863476" cy="161711"/>
          </a:xfrm>
        </p:spPr>
        <p:txBody>
          <a:bodyPr wrap="square">
            <a:spAutoFit/>
          </a:bodyPr>
          <a:lstStyle>
            <a:lvl1pPr algn="r">
              <a:buNone/>
              <a:defRPr lang="ru-RU" sz="1051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3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688673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65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5" y="6561349"/>
            <a:ext cx="648073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1"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6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90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/>
                </a:solidFill>
              </a:rPr>
            </a:br>
            <a:r>
              <a:rPr lang="ru-RU" sz="500" dirty="0">
                <a:solidFill>
                  <a:schemeClr val="tx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61" cstate="print">
            <a:extLst>
              <a:ext uri="{96DAC541-7B7A-43D3-8B79-37D633B846F1}">
                <asvg:svgBlip xmlns=""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1299594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00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</p:sldLayoutIdLst>
  <p:hf hdr="0" ftr="0"/>
  <p:txStyles>
    <p:titleStyle>
      <a:lvl1pPr algn="l" defTabSz="883661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661" rtl="0" eaLnBrk="0" fontAlgn="base" hangingPunct="0">
        <a:spcBef>
          <a:spcPct val="0"/>
        </a:spcBef>
        <a:spcAft>
          <a:spcPct val="0"/>
        </a:spcAft>
        <a:defRPr sz="1845" i="1">
          <a:solidFill>
            <a:srgbClr val="00579C"/>
          </a:solidFill>
          <a:latin typeface="Arial" charset="0"/>
        </a:defRPr>
      </a:lvl2pPr>
      <a:lvl3pPr algn="l" defTabSz="883661" rtl="0" eaLnBrk="0" fontAlgn="base" hangingPunct="0">
        <a:spcBef>
          <a:spcPct val="0"/>
        </a:spcBef>
        <a:spcAft>
          <a:spcPct val="0"/>
        </a:spcAft>
        <a:defRPr sz="1845" i="1">
          <a:solidFill>
            <a:srgbClr val="00579C"/>
          </a:solidFill>
          <a:latin typeface="Arial" charset="0"/>
        </a:defRPr>
      </a:lvl3pPr>
      <a:lvl4pPr algn="l" defTabSz="883661" rtl="0" eaLnBrk="0" fontAlgn="base" hangingPunct="0">
        <a:spcBef>
          <a:spcPct val="0"/>
        </a:spcBef>
        <a:spcAft>
          <a:spcPct val="0"/>
        </a:spcAft>
        <a:defRPr sz="1845" i="1">
          <a:solidFill>
            <a:srgbClr val="00579C"/>
          </a:solidFill>
          <a:latin typeface="Arial" charset="0"/>
        </a:defRPr>
      </a:lvl4pPr>
      <a:lvl5pPr algn="l" defTabSz="883661" rtl="0" eaLnBrk="0" fontAlgn="base" hangingPunct="0">
        <a:spcBef>
          <a:spcPct val="0"/>
        </a:spcBef>
        <a:spcAft>
          <a:spcPct val="0"/>
        </a:spcAft>
        <a:defRPr sz="1845" i="1">
          <a:solidFill>
            <a:srgbClr val="00579C"/>
          </a:solidFill>
          <a:latin typeface="Arial" charset="0"/>
        </a:defRPr>
      </a:lvl5pPr>
      <a:lvl6pPr marL="422046" algn="l" defTabSz="883661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94" algn="l" defTabSz="883661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40" algn="l" defTabSz="883661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86" algn="l" defTabSz="883661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90" indent="-331190" algn="l" defTabSz="883661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/>
          </a:solidFill>
          <a:latin typeface="+mn-lt"/>
          <a:ea typeface="+mn-ea"/>
          <a:cs typeface="+mn-cs"/>
        </a:defRPr>
      </a:lvl1pPr>
      <a:lvl2pPr marL="718066" indent="-275502" algn="l" defTabSz="883661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/>
          </a:solidFill>
          <a:latin typeface="+mn-lt"/>
        </a:defRPr>
      </a:lvl2pPr>
      <a:lvl3pPr marL="1104942" indent="-221281" algn="l" defTabSz="883661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/>
          </a:solidFill>
          <a:latin typeface="+mn-lt"/>
        </a:defRPr>
      </a:lvl3pPr>
      <a:lvl4pPr marL="1547504" indent="-221281" algn="l" defTabSz="883661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/>
          </a:solidFill>
          <a:latin typeface="FS Severstal" pitchFamily="2" charset="0"/>
        </a:defRPr>
      </a:lvl4pPr>
      <a:lvl5pPr marL="1990068" indent="-221281" algn="l" defTabSz="883661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/>
          </a:solidFill>
          <a:latin typeface="FS Severstal" pitchFamily="2" charset="0"/>
        </a:defRPr>
      </a:lvl5pPr>
      <a:lvl6pPr marL="2412114" indent="-221281" algn="l" defTabSz="883661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60" indent="-221281" algn="l" defTabSz="883661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206" indent="-221281" algn="l" defTabSz="883661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52" indent="-221281" algn="l" defTabSz="883661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6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94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40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86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33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1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327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73" algn="l" defTabSz="84409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8" userDrawn="1">
          <p15:clr>
            <a:srgbClr val="A4A3A4"/>
          </p15:clr>
        </p15:guide>
        <p15:guide id="2" pos="7422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4" orient="horz" pos="68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6.jp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tags" Target="../tags/tag6.xml"/><Relationship Id="rId7" Type="http://schemas.openxmlformats.org/officeDocument/2006/relationships/image" Target="../media/image21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0.jp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jpg"/><Relationship Id="rId11" Type="http://schemas.openxmlformats.org/officeDocument/2006/relationships/image" Target="../media/image25.wmf"/><Relationship Id="rId5" Type="http://schemas.openxmlformats.org/officeDocument/2006/relationships/hyperlink" Target="https://www.hikrobotics.com/en/machinevision/productdetail/?id=6249" TargetMode="External"/><Relationship Id="rId10" Type="http://schemas.openxmlformats.org/officeDocument/2006/relationships/oleObject" Target="../embeddings/oleObject1.bin"/><Relationship Id="rId4" Type="http://schemas.openxmlformats.org/officeDocument/2006/relationships/hyperlink" Target="https://habr.com/ru/companies/skillfactory/articles/652599/" TargetMode="External"/><Relationship Id="rId9" Type="http://schemas.openxmlformats.org/officeDocument/2006/relationships/image" Target="../media/image110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>
            <a:extLst>
              <a:ext uri="{FF2B5EF4-FFF2-40B4-BE49-F238E27FC236}">
                <a16:creationId xmlns:a16="http://schemas.microsoft.com/office/drawing/2014/main" id="{9D92DCA7-6D5C-499D-B7D0-4B5CD5D4A7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468" y="2068398"/>
            <a:ext cx="6736638" cy="2631490"/>
          </a:xfrm>
        </p:spPr>
        <p:txBody>
          <a:bodyPr/>
          <a:lstStyle/>
          <a:p>
            <a:r>
              <a:rPr lang="ru-RU" sz="3600" dirty="0" smtClean="0"/>
              <a:t>Кейс 11</a:t>
            </a:r>
          </a:p>
          <a:p>
            <a:r>
              <a:rPr lang="ru-RU" sz="3600" dirty="0" smtClean="0"/>
              <a:t>Создание </a:t>
            </a:r>
            <a:r>
              <a:rPr lang="ru-RU" sz="3600" dirty="0"/>
              <a:t>алгоритма для высокоточных измерений геометрии объектов на основе фотографий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B240C4E5-D44F-4BCF-8C63-CEA6C6E2A8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1296" y="5548289"/>
            <a:ext cx="4447600" cy="215444"/>
          </a:xfrm>
        </p:spPr>
        <p:txBody>
          <a:bodyPr/>
          <a:lstStyle/>
          <a:p>
            <a:r>
              <a:rPr lang="ru-RU" dirty="0"/>
              <a:t>Александр Никитин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EC7ED874-08F2-469F-A0DC-9522428369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51296" y="5877603"/>
            <a:ext cx="2574925" cy="473976"/>
          </a:xfrm>
        </p:spPr>
        <p:txBody>
          <a:bodyPr/>
          <a:lstStyle/>
          <a:p>
            <a:r>
              <a:rPr lang="ru-RU" dirty="0" smtClean="0"/>
              <a:t>+7 (927) 707-69-12</a:t>
            </a:r>
          </a:p>
          <a:p>
            <a:r>
              <a:rPr lang="en-US" dirty="0" smtClean="0"/>
              <a:t>av.nikitin3@severstal.com</a:t>
            </a:r>
            <a:endParaRPr lang="ru-RU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9772657-FC7D-20C5-06F0-2E852D06DF0D}"/>
              </a:ext>
            </a:extLst>
          </p:cNvPr>
          <p:cNvSpPr/>
          <p:nvPr/>
        </p:nvSpPr>
        <p:spPr>
          <a:xfrm rot="5400000">
            <a:off x="3261811" y="1250132"/>
            <a:ext cx="1029826" cy="5436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marR="0" lvl="0" indent="-22860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99A4AB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Текст 12">
            <a:extLst>
              <a:ext uri="{FF2B5EF4-FFF2-40B4-BE49-F238E27FC236}">
                <a16:creationId xmlns:a16="http://schemas.microsoft.com/office/drawing/2014/main" id="{8A7E63C6-9EF8-E61F-467B-DFFE7032C36D}"/>
              </a:ext>
            </a:extLst>
          </p:cNvPr>
          <p:cNvSpPr txBox="1">
            <a:spLocks/>
          </p:cNvSpPr>
          <p:nvPr/>
        </p:nvSpPr>
        <p:spPr>
          <a:xfrm>
            <a:off x="4037194" y="840414"/>
            <a:ext cx="2500539" cy="8771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83649" rtl="0" eaLnBrk="0" fontAlgn="base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None/>
              <a:defRPr sz="4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8056" indent="-275499" algn="l" defTabSz="883649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292">
                <a:solidFill>
                  <a:schemeClr val="tx1"/>
                </a:solidFill>
                <a:latin typeface="+mn-lt"/>
              </a:defRPr>
            </a:lvl2pPr>
            <a:lvl3pPr marL="1104928" indent="-221279" algn="l" defTabSz="883649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92">
                <a:solidFill>
                  <a:schemeClr val="tx1"/>
                </a:solidFill>
                <a:latin typeface="+mn-lt"/>
              </a:defRPr>
            </a:lvl3pPr>
            <a:lvl4pPr marL="1547485" indent="-221279" algn="l" defTabSz="883649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108">
                <a:solidFill>
                  <a:schemeClr val="tx1"/>
                </a:solidFill>
                <a:latin typeface="FS Severstal" pitchFamily="2" charset="0"/>
              </a:defRPr>
            </a:lvl4pPr>
            <a:lvl5pPr marL="1990042" indent="-221279" algn="l" defTabSz="883649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108">
                <a:solidFill>
                  <a:schemeClr val="tx1"/>
                </a:solidFill>
                <a:latin typeface="FS Severstal" pitchFamily="2" charset="0"/>
              </a:defRPr>
            </a:lvl5pPr>
            <a:lvl6pPr marL="2412083" indent="-221279" algn="l" defTabSz="883649" rtl="0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algn="l" defTabSz="883649" rtl="0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algn="l" defTabSz="883649" rtl="0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algn="l" defTabSz="883649" rtl="0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r>
              <a:rPr lang="ru-RU" sz="2000" kern="0" dirty="0"/>
              <a:t>Лаборатория измерительных систем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10896" y="5877603"/>
            <a:ext cx="394529" cy="473976"/>
          </a:xfrm>
          <a:prstGeom prst="rect">
            <a:avLst/>
          </a:prstGeom>
          <a:solidFill>
            <a:srgbClr val="002F6C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58408"/>
          <a:stretch/>
        </p:blipFill>
        <p:spPr>
          <a:xfrm>
            <a:off x="7124700" y="-297"/>
            <a:ext cx="5089165" cy="6858594"/>
          </a:xfrm>
          <a:prstGeom prst="rect">
            <a:avLst/>
          </a:prstGeom>
        </p:spPr>
      </p:pic>
      <p:pic>
        <p:nvPicPr>
          <p:cNvPr id="29" name="Объект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7" t="35183" r="22208" b="32408"/>
          <a:stretch/>
        </p:blipFill>
        <p:spPr>
          <a:xfrm>
            <a:off x="3726787" y="5537132"/>
            <a:ext cx="883473" cy="111122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8072" y="5445692"/>
            <a:ext cx="1016951" cy="101695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6211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A9DF01C-8921-D0A6-FC6D-D26D74E22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  <p:sp>
        <p:nvSpPr>
          <p:cNvPr id="114" name="Заголовок 2"/>
          <p:cNvSpPr txBox="1">
            <a:spLocks/>
          </p:cNvSpPr>
          <p:nvPr/>
        </p:nvSpPr>
        <p:spPr>
          <a:xfrm>
            <a:off x="421930" y="372021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 smtClean="0">
                <a:solidFill>
                  <a:srgbClr val="002F6C"/>
                </a:solidFill>
              </a:rPr>
              <a:t>Описание кейса</a:t>
            </a:r>
            <a:endParaRPr lang="ru-RU" dirty="0"/>
          </a:p>
        </p:txBody>
      </p:sp>
      <p:sp>
        <p:nvSpPr>
          <p:cNvPr id="9" name="Rectangle 286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21930" y="1036488"/>
            <a:ext cx="11362082" cy="2990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800" dirty="0" smtClean="0"/>
              <a:t>Участникам предстоит </a:t>
            </a:r>
            <a:r>
              <a:rPr lang="ru-RU" sz="1800" dirty="0"/>
              <a:t>разработать программный алгоритм, способный выполнять высокоточные измерения геометрии объектов с использованием технологий компьютерного </a:t>
            </a:r>
            <a:r>
              <a:rPr lang="ru-RU" sz="1800" dirty="0" smtClean="0"/>
              <a:t>зрения</a:t>
            </a:r>
            <a:endParaRPr lang="en-US" sz="1800" dirty="0" smtClean="0"/>
          </a:p>
          <a:p>
            <a:endParaRPr lang="ru-RU" sz="1800" dirty="0" smtClean="0"/>
          </a:p>
          <a:p>
            <a:endParaRPr lang="ru-RU" sz="1800" dirty="0"/>
          </a:p>
          <a:p>
            <a:r>
              <a:rPr lang="ru-RU" sz="1800" b="1" dirty="0">
                <a:solidFill>
                  <a:srgbClr val="002F6C"/>
                </a:solidFill>
              </a:rPr>
              <a:t>Пример этапов работ:</a:t>
            </a:r>
            <a:r>
              <a:rPr lang="ru-RU" sz="1800" dirty="0" smtClean="0">
                <a:solidFill>
                  <a:srgbClr val="002F6C"/>
                </a:solidFill>
              </a:rPr>
              <a:t> </a:t>
            </a:r>
            <a:endParaRPr lang="ru-RU" sz="1800" dirty="0">
              <a:solidFill>
                <a:srgbClr val="002F6C"/>
              </a:solidFill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800" dirty="0" smtClean="0"/>
              <a:t>Создание </a:t>
            </a:r>
            <a:r>
              <a:rPr lang="ru-RU" sz="1800" dirty="0"/>
              <a:t>синтетического дата-сета парных фотографий из предоставленных 3D моделей для обучения алгоритмов.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800" dirty="0" smtClean="0"/>
              <a:t>Разработка </a:t>
            </a:r>
            <a:r>
              <a:rPr lang="ru-RU" sz="1800" dirty="0"/>
              <a:t>алгоритма для измерения </a:t>
            </a:r>
            <a:r>
              <a:rPr lang="ru-RU" sz="1800" dirty="0" smtClean="0"/>
              <a:t>геометрии объектов, </a:t>
            </a:r>
            <a:r>
              <a:rPr lang="ru-RU" sz="1800" dirty="0"/>
              <a:t>отображенных на парных фотографиях. 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800" dirty="0" smtClean="0"/>
              <a:t>Создание </a:t>
            </a:r>
            <a:r>
              <a:rPr lang="ru-RU" sz="1800" dirty="0"/>
              <a:t>простейшего интерфейса для получения результатов сканирования.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800" dirty="0" smtClean="0"/>
              <a:t>Тестирование </a:t>
            </a:r>
            <a:r>
              <a:rPr lang="ru-RU" sz="1800" dirty="0"/>
              <a:t>алгоритма и программного обеспечения на реальных фотографиях для оценки точности измерений.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07987" y="5576463"/>
            <a:ext cx="11376025" cy="792000"/>
          </a:xfrm>
          <a:prstGeom prst="roundRect">
            <a:avLst>
              <a:gd name="adj" fmla="val 11128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grpSp>
        <p:nvGrpSpPr>
          <p:cNvPr id="14" name="Graphic 136">
            <a:extLst>
              <a:ext uri="{FF2B5EF4-FFF2-40B4-BE49-F238E27FC236}">
                <a16:creationId xmlns:a16="http://schemas.microsoft.com/office/drawing/2014/main" id="{28717CD5-6B96-4C01-8E9A-F50444D4DA54}"/>
              </a:ext>
            </a:extLst>
          </p:cNvPr>
          <p:cNvGrpSpPr/>
          <p:nvPr/>
        </p:nvGrpSpPr>
        <p:grpSpPr>
          <a:xfrm>
            <a:off x="636582" y="5685052"/>
            <a:ext cx="539619" cy="574822"/>
            <a:chOff x="501627" y="2048007"/>
            <a:chExt cx="565102" cy="601968"/>
          </a:xfrm>
          <a:solidFill>
            <a:schemeClr val="bg1"/>
          </a:solidFill>
        </p:grpSpPr>
        <p:sp>
          <p:nvSpPr>
            <p:cNvPr id="15" name="Полилиния: фигура 24">
              <a:extLst>
                <a:ext uri="{FF2B5EF4-FFF2-40B4-BE49-F238E27FC236}">
                  <a16:creationId xmlns:a16="http://schemas.microsoft.com/office/drawing/2014/main" id="{8279E9A6-7CA0-4FEA-BCCD-6A4DBC31DA3C}"/>
                </a:ext>
              </a:extLst>
            </p:cNvPr>
            <p:cNvSpPr/>
            <p:nvPr/>
          </p:nvSpPr>
          <p:spPr>
            <a:xfrm>
              <a:off x="517325" y="2048007"/>
              <a:ext cx="533794" cy="601968"/>
            </a:xfrm>
            <a:custGeom>
              <a:avLst/>
              <a:gdLst>
                <a:gd name="connsiteX0" fmla="*/ 456363 w 533794"/>
                <a:gd name="connsiteY0" fmla="*/ 463693 h 601968"/>
                <a:gd name="connsiteX1" fmla="*/ 522517 w 533794"/>
                <a:gd name="connsiteY1" fmla="*/ 458563 h 601968"/>
                <a:gd name="connsiteX2" fmla="*/ 517389 w 533794"/>
                <a:gd name="connsiteY2" fmla="*/ 392409 h 601968"/>
                <a:gd name="connsiteX3" fmla="*/ 502416 w 533794"/>
                <a:gd name="connsiteY3" fmla="*/ 383780 h 601968"/>
                <a:gd name="connsiteX4" fmla="*/ 502416 w 533794"/>
                <a:gd name="connsiteY4" fmla="*/ 218275 h 601968"/>
                <a:gd name="connsiteX5" fmla="*/ 530986 w 533794"/>
                <a:gd name="connsiteY5" fmla="*/ 158387 h 601968"/>
                <a:gd name="connsiteX6" fmla="*/ 471099 w 533794"/>
                <a:gd name="connsiteY6" fmla="*/ 129817 h 601968"/>
                <a:gd name="connsiteX7" fmla="*/ 456294 w 533794"/>
                <a:gd name="connsiteY7" fmla="*/ 138362 h 601968"/>
                <a:gd name="connsiteX8" fmla="*/ 313061 w 533794"/>
                <a:gd name="connsiteY8" fmla="*/ 55661 h 601968"/>
                <a:gd name="connsiteX9" fmla="*/ 313858 w 533794"/>
                <a:gd name="connsiteY9" fmla="*/ 47002 h 601968"/>
                <a:gd name="connsiteX10" fmla="*/ 266988 w 533794"/>
                <a:gd name="connsiteY10" fmla="*/ 0 h 601968"/>
                <a:gd name="connsiteX11" fmla="*/ 219986 w 533794"/>
                <a:gd name="connsiteY11" fmla="*/ 46870 h 601968"/>
                <a:gd name="connsiteX12" fmla="*/ 220765 w 533794"/>
                <a:gd name="connsiteY12" fmla="*/ 55454 h 601968"/>
                <a:gd name="connsiteX13" fmla="*/ 77308 w 533794"/>
                <a:gd name="connsiteY13" fmla="*/ 138276 h 601968"/>
                <a:gd name="connsiteX14" fmla="*/ 11172 w 533794"/>
                <a:gd name="connsiteY14" fmla="*/ 143636 h 601968"/>
                <a:gd name="connsiteX15" fmla="*/ 16531 w 533794"/>
                <a:gd name="connsiteY15" fmla="*/ 209772 h 601968"/>
                <a:gd name="connsiteX16" fmla="*/ 31324 w 533794"/>
                <a:gd name="connsiteY16" fmla="*/ 218275 h 601968"/>
                <a:gd name="connsiteX17" fmla="*/ 31324 w 533794"/>
                <a:gd name="connsiteY17" fmla="*/ 383780 h 601968"/>
                <a:gd name="connsiteX18" fmla="*/ 2754 w 533794"/>
                <a:gd name="connsiteY18" fmla="*/ 443668 h 601968"/>
                <a:gd name="connsiteX19" fmla="*/ 62641 w 533794"/>
                <a:gd name="connsiteY19" fmla="*/ 472238 h 601968"/>
                <a:gd name="connsiteX20" fmla="*/ 77446 w 533794"/>
                <a:gd name="connsiteY20" fmla="*/ 463693 h 601968"/>
                <a:gd name="connsiteX21" fmla="*/ 220679 w 533794"/>
                <a:gd name="connsiteY21" fmla="*/ 546393 h 601968"/>
                <a:gd name="connsiteX22" fmla="*/ 219882 w 533794"/>
                <a:gd name="connsiteY22" fmla="*/ 554967 h 601968"/>
                <a:gd name="connsiteX23" fmla="*/ 266752 w 533794"/>
                <a:gd name="connsiteY23" fmla="*/ 601968 h 601968"/>
                <a:gd name="connsiteX24" fmla="*/ 313754 w 533794"/>
                <a:gd name="connsiteY24" fmla="*/ 555098 h 601968"/>
                <a:gd name="connsiteX25" fmla="*/ 312975 w 533794"/>
                <a:gd name="connsiteY25" fmla="*/ 546515 h 601968"/>
                <a:gd name="connsiteX26" fmla="*/ 282579 w 533794"/>
                <a:gd name="connsiteY26" fmla="*/ 208697 h 601968"/>
                <a:gd name="connsiteX27" fmla="*/ 282579 w 533794"/>
                <a:gd name="connsiteY27" fmla="*/ 91357 h 601968"/>
                <a:gd name="connsiteX28" fmla="*/ 297370 w 533794"/>
                <a:gd name="connsiteY28" fmla="*/ 82801 h 601968"/>
                <a:gd name="connsiteX29" fmla="*/ 440637 w 533794"/>
                <a:gd name="connsiteY29" fmla="*/ 165537 h 601968"/>
                <a:gd name="connsiteX30" fmla="*/ 440637 w 533794"/>
                <a:gd name="connsiteY30" fmla="*/ 182544 h 601968"/>
                <a:gd name="connsiteX31" fmla="*/ 297508 w 533794"/>
                <a:gd name="connsiteY31" fmla="*/ 265193 h 601968"/>
                <a:gd name="connsiteX32" fmla="*/ 236370 w 533794"/>
                <a:gd name="connsiteY32" fmla="*/ 265280 h 601968"/>
                <a:gd name="connsiteX33" fmla="*/ 93103 w 533794"/>
                <a:gd name="connsiteY33" fmla="*/ 182562 h 601968"/>
                <a:gd name="connsiteX34" fmla="*/ 93103 w 533794"/>
                <a:gd name="connsiteY34" fmla="*/ 165537 h 601968"/>
                <a:gd name="connsiteX35" fmla="*/ 236526 w 533794"/>
                <a:gd name="connsiteY35" fmla="*/ 82801 h 601968"/>
                <a:gd name="connsiteX36" fmla="*/ 251161 w 533794"/>
                <a:gd name="connsiteY36" fmla="*/ 91322 h 601968"/>
                <a:gd name="connsiteX37" fmla="*/ 251161 w 533794"/>
                <a:gd name="connsiteY37" fmla="*/ 208749 h 601968"/>
                <a:gd name="connsiteX38" fmla="*/ 456363 w 533794"/>
                <a:gd name="connsiteY38" fmla="*/ 392284 h 601968"/>
                <a:gd name="connsiteX39" fmla="*/ 313096 w 533794"/>
                <a:gd name="connsiteY39" fmla="*/ 309566 h 601968"/>
                <a:gd name="connsiteX40" fmla="*/ 313927 w 533794"/>
                <a:gd name="connsiteY40" fmla="*/ 300802 h 601968"/>
                <a:gd name="connsiteX41" fmla="*/ 313165 w 533794"/>
                <a:gd name="connsiteY41" fmla="*/ 292420 h 601968"/>
                <a:gd name="connsiteX42" fmla="*/ 456363 w 533794"/>
                <a:gd name="connsiteY42" fmla="*/ 209736 h 601968"/>
                <a:gd name="connsiteX43" fmla="*/ 471085 w 533794"/>
                <a:gd name="connsiteY43" fmla="*/ 218257 h 601968"/>
                <a:gd name="connsiteX44" fmla="*/ 471085 w 533794"/>
                <a:gd name="connsiteY44" fmla="*/ 383763 h 601968"/>
                <a:gd name="connsiteX45" fmla="*/ 456363 w 533794"/>
                <a:gd name="connsiteY45" fmla="*/ 392301 h 601968"/>
                <a:gd name="connsiteX46" fmla="*/ 251456 w 533794"/>
                <a:gd name="connsiteY46" fmla="*/ 300820 h 601968"/>
                <a:gd name="connsiteX47" fmla="*/ 267043 w 533794"/>
                <a:gd name="connsiteY47" fmla="*/ 285232 h 601968"/>
                <a:gd name="connsiteX48" fmla="*/ 282631 w 533794"/>
                <a:gd name="connsiteY48" fmla="*/ 300820 h 601968"/>
                <a:gd name="connsiteX49" fmla="*/ 267043 w 533794"/>
                <a:gd name="connsiteY49" fmla="*/ 316407 h 601968"/>
                <a:gd name="connsiteX50" fmla="*/ 251456 w 533794"/>
                <a:gd name="connsiteY50" fmla="*/ 300820 h 601968"/>
                <a:gd name="connsiteX51" fmla="*/ 77377 w 533794"/>
                <a:gd name="connsiteY51" fmla="*/ 209753 h 601968"/>
                <a:gd name="connsiteX52" fmla="*/ 220800 w 533794"/>
                <a:gd name="connsiteY52" fmla="*/ 292558 h 601968"/>
                <a:gd name="connsiteX53" fmla="*/ 220055 w 533794"/>
                <a:gd name="connsiteY53" fmla="*/ 300820 h 601968"/>
                <a:gd name="connsiteX54" fmla="*/ 220869 w 533794"/>
                <a:gd name="connsiteY54" fmla="*/ 309479 h 601968"/>
                <a:gd name="connsiteX55" fmla="*/ 77377 w 533794"/>
                <a:gd name="connsiteY55" fmla="*/ 392301 h 601968"/>
                <a:gd name="connsiteX56" fmla="*/ 62655 w 533794"/>
                <a:gd name="connsiteY56" fmla="*/ 383780 h 601968"/>
                <a:gd name="connsiteX57" fmla="*/ 62655 w 533794"/>
                <a:gd name="connsiteY57" fmla="*/ 218275 h 601968"/>
                <a:gd name="connsiteX58" fmla="*/ 77377 w 533794"/>
                <a:gd name="connsiteY58" fmla="*/ 209753 h 601968"/>
                <a:gd name="connsiteX59" fmla="*/ 93103 w 533794"/>
                <a:gd name="connsiteY59" fmla="*/ 419476 h 601968"/>
                <a:gd name="connsiteX60" fmla="*/ 236665 w 533794"/>
                <a:gd name="connsiteY60" fmla="*/ 336602 h 601968"/>
                <a:gd name="connsiteX61" fmla="*/ 251161 w 533794"/>
                <a:gd name="connsiteY61" fmla="*/ 345002 h 601968"/>
                <a:gd name="connsiteX62" fmla="*/ 251161 w 533794"/>
                <a:gd name="connsiteY62" fmla="*/ 510698 h 601968"/>
                <a:gd name="connsiteX63" fmla="*/ 236370 w 533794"/>
                <a:gd name="connsiteY63" fmla="*/ 519236 h 601968"/>
                <a:gd name="connsiteX64" fmla="*/ 93103 w 533794"/>
                <a:gd name="connsiteY64" fmla="*/ 436501 h 601968"/>
                <a:gd name="connsiteX65" fmla="*/ 93103 w 533794"/>
                <a:gd name="connsiteY65" fmla="*/ 419476 h 601968"/>
                <a:gd name="connsiteX66" fmla="*/ 282579 w 533794"/>
                <a:gd name="connsiteY66" fmla="*/ 345088 h 601968"/>
                <a:gd name="connsiteX67" fmla="*/ 297214 w 533794"/>
                <a:gd name="connsiteY67" fmla="*/ 336671 h 601968"/>
                <a:gd name="connsiteX68" fmla="*/ 440637 w 533794"/>
                <a:gd name="connsiteY68" fmla="*/ 419493 h 601968"/>
                <a:gd name="connsiteX69" fmla="*/ 440637 w 533794"/>
                <a:gd name="connsiteY69" fmla="*/ 436501 h 601968"/>
                <a:gd name="connsiteX70" fmla="*/ 297214 w 533794"/>
                <a:gd name="connsiteY70" fmla="*/ 519254 h 601968"/>
                <a:gd name="connsiteX71" fmla="*/ 282579 w 533794"/>
                <a:gd name="connsiteY71" fmla="*/ 510732 h 601968"/>
                <a:gd name="connsiteX72" fmla="*/ 486828 w 533794"/>
                <a:gd name="connsiteY72" fmla="*/ 443533 h 601968"/>
                <a:gd name="connsiteX73" fmla="*/ 471241 w 533794"/>
                <a:gd name="connsiteY73" fmla="*/ 427945 h 601968"/>
                <a:gd name="connsiteX74" fmla="*/ 486828 w 533794"/>
                <a:gd name="connsiteY74" fmla="*/ 412357 h 601968"/>
                <a:gd name="connsiteX75" fmla="*/ 502416 w 533794"/>
                <a:gd name="connsiteY75" fmla="*/ 427945 h 601968"/>
                <a:gd name="connsiteX76" fmla="*/ 486828 w 533794"/>
                <a:gd name="connsiteY76" fmla="*/ 443533 h 601968"/>
                <a:gd name="connsiteX77" fmla="*/ 486828 w 533794"/>
                <a:gd name="connsiteY77" fmla="*/ 158522 h 601968"/>
                <a:gd name="connsiteX78" fmla="*/ 502416 w 533794"/>
                <a:gd name="connsiteY78" fmla="*/ 174110 h 601968"/>
                <a:gd name="connsiteX79" fmla="*/ 486828 w 533794"/>
                <a:gd name="connsiteY79" fmla="*/ 189697 h 601968"/>
                <a:gd name="connsiteX80" fmla="*/ 471241 w 533794"/>
                <a:gd name="connsiteY80" fmla="*/ 174110 h 601968"/>
                <a:gd name="connsiteX81" fmla="*/ 486828 w 533794"/>
                <a:gd name="connsiteY81" fmla="*/ 158522 h 601968"/>
                <a:gd name="connsiteX82" fmla="*/ 266991 w 533794"/>
                <a:gd name="connsiteY82" fmla="*/ 31553 h 601968"/>
                <a:gd name="connsiteX83" fmla="*/ 282579 w 533794"/>
                <a:gd name="connsiteY83" fmla="*/ 47140 h 601968"/>
                <a:gd name="connsiteX84" fmla="*/ 266991 w 533794"/>
                <a:gd name="connsiteY84" fmla="*/ 62728 h 601968"/>
                <a:gd name="connsiteX85" fmla="*/ 251404 w 533794"/>
                <a:gd name="connsiteY85" fmla="*/ 47140 h 601968"/>
                <a:gd name="connsiteX86" fmla="*/ 266991 w 533794"/>
                <a:gd name="connsiteY86" fmla="*/ 31553 h 601968"/>
                <a:gd name="connsiteX87" fmla="*/ 46912 w 533794"/>
                <a:gd name="connsiteY87" fmla="*/ 158522 h 601968"/>
                <a:gd name="connsiteX88" fmla="*/ 62499 w 533794"/>
                <a:gd name="connsiteY88" fmla="*/ 174110 h 601968"/>
                <a:gd name="connsiteX89" fmla="*/ 46912 w 533794"/>
                <a:gd name="connsiteY89" fmla="*/ 189697 h 601968"/>
                <a:gd name="connsiteX90" fmla="*/ 31324 w 533794"/>
                <a:gd name="connsiteY90" fmla="*/ 174110 h 601968"/>
                <a:gd name="connsiteX91" fmla="*/ 46912 w 533794"/>
                <a:gd name="connsiteY91" fmla="*/ 158522 h 601968"/>
                <a:gd name="connsiteX92" fmla="*/ 46912 w 533794"/>
                <a:gd name="connsiteY92" fmla="*/ 443533 h 601968"/>
                <a:gd name="connsiteX93" fmla="*/ 31324 w 533794"/>
                <a:gd name="connsiteY93" fmla="*/ 427945 h 601968"/>
                <a:gd name="connsiteX94" fmla="*/ 46912 w 533794"/>
                <a:gd name="connsiteY94" fmla="*/ 412357 h 601968"/>
                <a:gd name="connsiteX95" fmla="*/ 62499 w 533794"/>
                <a:gd name="connsiteY95" fmla="*/ 427945 h 601968"/>
                <a:gd name="connsiteX96" fmla="*/ 46912 w 533794"/>
                <a:gd name="connsiteY96" fmla="*/ 443533 h 601968"/>
                <a:gd name="connsiteX97" fmla="*/ 266714 w 533794"/>
                <a:gd name="connsiteY97" fmla="*/ 570502 h 601968"/>
                <a:gd name="connsiteX98" fmla="*/ 251127 w 533794"/>
                <a:gd name="connsiteY98" fmla="*/ 554915 h 601968"/>
                <a:gd name="connsiteX99" fmla="*/ 266714 w 533794"/>
                <a:gd name="connsiteY99" fmla="*/ 539327 h 601968"/>
                <a:gd name="connsiteX100" fmla="*/ 282302 w 533794"/>
                <a:gd name="connsiteY100" fmla="*/ 554915 h 601968"/>
                <a:gd name="connsiteX101" fmla="*/ 266749 w 533794"/>
                <a:gd name="connsiteY101" fmla="*/ 570502 h 601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33794" h="601968">
                  <a:moveTo>
                    <a:pt x="456363" y="463693"/>
                  </a:moveTo>
                  <a:cubicBezTo>
                    <a:pt x="476049" y="480545"/>
                    <a:pt x="505667" y="478248"/>
                    <a:pt x="522517" y="458563"/>
                  </a:cubicBezTo>
                  <a:cubicBezTo>
                    <a:pt x="539369" y="438879"/>
                    <a:pt x="537072" y="409259"/>
                    <a:pt x="517389" y="392409"/>
                  </a:cubicBezTo>
                  <a:cubicBezTo>
                    <a:pt x="512974" y="388630"/>
                    <a:pt x="507898" y="385704"/>
                    <a:pt x="502416" y="383780"/>
                  </a:cubicBezTo>
                  <a:lnTo>
                    <a:pt x="502416" y="218275"/>
                  </a:lnTo>
                  <a:cubicBezTo>
                    <a:pt x="526843" y="209627"/>
                    <a:pt x="539634" y="182815"/>
                    <a:pt x="530986" y="158387"/>
                  </a:cubicBezTo>
                  <a:cubicBezTo>
                    <a:pt x="522339" y="133961"/>
                    <a:pt x="495526" y="121169"/>
                    <a:pt x="471099" y="129817"/>
                  </a:cubicBezTo>
                  <a:cubicBezTo>
                    <a:pt x="465683" y="131736"/>
                    <a:pt x="460664" y="134632"/>
                    <a:pt x="456294" y="138362"/>
                  </a:cubicBezTo>
                  <a:lnTo>
                    <a:pt x="313061" y="55661"/>
                  </a:lnTo>
                  <a:cubicBezTo>
                    <a:pt x="313588" y="52805"/>
                    <a:pt x="313855" y="49906"/>
                    <a:pt x="313858" y="47002"/>
                  </a:cubicBezTo>
                  <a:cubicBezTo>
                    <a:pt x="313894" y="21080"/>
                    <a:pt x="292910" y="36"/>
                    <a:pt x="266988" y="0"/>
                  </a:cubicBezTo>
                  <a:cubicBezTo>
                    <a:pt x="241066" y="-36"/>
                    <a:pt x="220022" y="20948"/>
                    <a:pt x="219986" y="46870"/>
                  </a:cubicBezTo>
                  <a:cubicBezTo>
                    <a:pt x="219983" y="49749"/>
                    <a:pt x="220242" y="52622"/>
                    <a:pt x="220765" y="55454"/>
                  </a:cubicBezTo>
                  <a:lnTo>
                    <a:pt x="77308" y="138276"/>
                  </a:lnTo>
                  <a:cubicBezTo>
                    <a:pt x="57565" y="121493"/>
                    <a:pt x="27954" y="123892"/>
                    <a:pt x="11172" y="143636"/>
                  </a:cubicBezTo>
                  <a:cubicBezTo>
                    <a:pt x="-5611" y="163379"/>
                    <a:pt x="-3212" y="192988"/>
                    <a:pt x="16531" y="209772"/>
                  </a:cubicBezTo>
                  <a:cubicBezTo>
                    <a:pt x="20901" y="213486"/>
                    <a:pt x="25915" y="216368"/>
                    <a:pt x="31324" y="218275"/>
                  </a:cubicBezTo>
                  <a:lnTo>
                    <a:pt x="31324" y="383780"/>
                  </a:lnTo>
                  <a:cubicBezTo>
                    <a:pt x="6897" y="392428"/>
                    <a:pt x="-5894" y="419240"/>
                    <a:pt x="2754" y="443668"/>
                  </a:cubicBezTo>
                  <a:cubicBezTo>
                    <a:pt x="11402" y="468094"/>
                    <a:pt x="38214" y="480886"/>
                    <a:pt x="62641" y="472238"/>
                  </a:cubicBezTo>
                  <a:cubicBezTo>
                    <a:pt x="68057" y="470319"/>
                    <a:pt x="73077" y="467423"/>
                    <a:pt x="77446" y="463693"/>
                  </a:cubicBezTo>
                  <a:lnTo>
                    <a:pt x="220679" y="546393"/>
                  </a:lnTo>
                  <a:cubicBezTo>
                    <a:pt x="220158" y="549222"/>
                    <a:pt x="219891" y="552092"/>
                    <a:pt x="219882" y="554967"/>
                  </a:cubicBezTo>
                  <a:cubicBezTo>
                    <a:pt x="219846" y="580889"/>
                    <a:pt x="240830" y="601932"/>
                    <a:pt x="266752" y="601968"/>
                  </a:cubicBezTo>
                  <a:cubicBezTo>
                    <a:pt x="292675" y="602005"/>
                    <a:pt x="313718" y="581020"/>
                    <a:pt x="313754" y="555098"/>
                  </a:cubicBezTo>
                  <a:cubicBezTo>
                    <a:pt x="313758" y="552220"/>
                    <a:pt x="313498" y="549346"/>
                    <a:pt x="312975" y="546515"/>
                  </a:cubicBezTo>
                  <a:close/>
                  <a:moveTo>
                    <a:pt x="282579" y="208697"/>
                  </a:moveTo>
                  <a:lnTo>
                    <a:pt x="282579" y="91357"/>
                  </a:lnTo>
                  <a:cubicBezTo>
                    <a:pt x="287990" y="89429"/>
                    <a:pt x="293002" y="86530"/>
                    <a:pt x="297370" y="82801"/>
                  </a:cubicBezTo>
                  <a:lnTo>
                    <a:pt x="440637" y="165537"/>
                  </a:lnTo>
                  <a:cubicBezTo>
                    <a:pt x="439598" y="171159"/>
                    <a:pt x="439598" y="176922"/>
                    <a:pt x="440637" y="182544"/>
                  </a:cubicBezTo>
                  <a:lnTo>
                    <a:pt x="297508" y="265193"/>
                  </a:lnTo>
                  <a:cubicBezTo>
                    <a:pt x="279929" y="250051"/>
                    <a:pt x="253906" y="250089"/>
                    <a:pt x="236370" y="265280"/>
                  </a:cubicBezTo>
                  <a:lnTo>
                    <a:pt x="93103" y="182562"/>
                  </a:lnTo>
                  <a:cubicBezTo>
                    <a:pt x="94142" y="176935"/>
                    <a:pt x="94142" y="171164"/>
                    <a:pt x="93103" y="165537"/>
                  </a:cubicBezTo>
                  <a:lnTo>
                    <a:pt x="236526" y="82801"/>
                  </a:lnTo>
                  <a:cubicBezTo>
                    <a:pt x="240849" y="86503"/>
                    <a:pt x="245808" y="89390"/>
                    <a:pt x="251161" y="91322"/>
                  </a:cubicBezTo>
                  <a:lnTo>
                    <a:pt x="251161" y="208749"/>
                  </a:lnTo>
                  <a:close/>
                  <a:moveTo>
                    <a:pt x="456363" y="392284"/>
                  </a:moveTo>
                  <a:lnTo>
                    <a:pt x="313096" y="309566"/>
                  </a:lnTo>
                  <a:cubicBezTo>
                    <a:pt x="313647" y="306677"/>
                    <a:pt x="313924" y="303743"/>
                    <a:pt x="313927" y="300802"/>
                  </a:cubicBezTo>
                  <a:cubicBezTo>
                    <a:pt x="313920" y="297991"/>
                    <a:pt x="313666" y="295186"/>
                    <a:pt x="313165" y="292420"/>
                  </a:cubicBezTo>
                  <a:lnTo>
                    <a:pt x="456363" y="209736"/>
                  </a:lnTo>
                  <a:cubicBezTo>
                    <a:pt x="460714" y="213446"/>
                    <a:pt x="465702" y="216333"/>
                    <a:pt x="471085" y="218257"/>
                  </a:cubicBezTo>
                  <a:lnTo>
                    <a:pt x="471085" y="383763"/>
                  </a:lnTo>
                  <a:cubicBezTo>
                    <a:pt x="465700" y="385692"/>
                    <a:pt x="460712" y="388586"/>
                    <a:pt x="456363" y="392301"/>
                  </a:cubicBezTo>
                  <a:close/>
                  <a:moveTo>
                    <a:pt x="251456" y="300820"/>
                  </a:moveTo>
                  <a:cubicBezTo>
                    <a:pt x="251456" y="292210"/>
                    <a:pt x="258434" y="285232"/>
                    <a:pt x="267043" y="285232"/>
                  </a:cubicBezTo>
                  <a:cubicBezTo>
                    <a:pt x="275653" y="285232"/>
                    <a:pt x="282631" y="292210"/>
                    <a:pt x="282631" y="300820"/>
                  </a:cubicBezTo>
                  <a:cubicBezTo>
                    <a:pt x="282631" y="309429"/>
                    <a:pt x="275653" y="316407"/>
                    <a:pt x="267043" y="316407"/>
                  </a:cubicBezTo>
                  <a:cubicBezTo>
                    <a:pt x="258434" y="316407"/>
                    <a:pt x="251456" y="309429"/>
                    <a:pt x="251456" y="300820"/>
                  </a:cubicBezTo>
                  <a:close/>
                  <a:moveTo>
                    <a:pt x="77377" y="209753"/>
                  </a:moveTo>
                  <a:lnTo>
                    <a:pt x="220800" y="292558"/>
                  </a:lnTo>
                  <a:cubicBezTo>
                    <a:pt x="220305" y="295284"/>
                    <a:pt x="220057" y="298048"/>
                    <a:pt x="220055" y="300820"/>
                  </a:cubicBezTo>
                  <a:cubicBezTo>
                    <a:pt x="220061" y="303726"/>
                    <a:pt x="220334" y="306623"/>
                    <a:pt x="220869" y="309479"/>
                  </a:cubicBezTo>
                  <a:lnTo>
                    <a:pt x="77377" y="392301"/>
                  </a:lnTo>
                  <a:cubicBezTo>
                    <a:pt x="73026" y="388592"/>
                    <a:pt x="68038" y="385704"/>
                    <a:pt x="62655" y="383780"/>
                  </a:cubicBezTo>
                  <a:lnTo>
                    <a:pt x="62655" y="218275"/>
                  </a:lnTo>
                  <a:cubicBezTo>
                    <a:pt x="68038" y="216350"/>
                    <a:pt x="73026" y="213463"/>
                    <a:pt x="77377" y="209753"/>
                  </a:cubicBezTo>
                  <a:close/>
                  <a:moveTo>
                    <a:pt x="93103" y="419476"/>
                  </a:moveTo>
                  <a:lnTo>
                    <a:pt x="236665" y="336602"/>
                  </a:lnTo>
                  <a:cubicBezTo>
                    <a:pt x="240957" y="340244"/>
                    <a:pt x="245867" y="343090"/>
                    <a:pt x="251161" y="345002"/>
                  </a:cubicBezTo>
                  <a:lnTo>
                    <a:pt x="251161" y="510698"/>
                  </a:lnTo>
                  <a:cubicBezTo>
                    <a:pt x="245752" y="512620"/>
                    <a:pt x="240740" y="515514"/>
                    <a:pt x="236370" y="519236"/>
                  </a:cubicBezTo>
                  <a:lnTo>
                    <a:pt x="93103" y="436501"/>
                  </a:lnTo>
                  <a:cubicBezTo>
                    <a:pt x="94142" y="430874"/>
                    <a:pt x="94142" y="425103"/>
                    <a:pt x="93103" y="419476"/>
                  </a:cubicBezTo>
                  <a:close/>
                  <a:moveTo>
                    <a:pt x="282579" y="345088"/>
                  </a:moveTo>
                  <a:cubicBezTo>
                    <a:pt x="287924" y="343185"/>
                    <a:pt x="292881" y="340334"/>
                    <a:pt x="297214" y="336671"/>
                  </a:cubicBezTo>
                  <a:lnTo>
                    <a:pt x="440637" y="419493"/>
                  </a:lnTo>
                  <a:cubicBezTo>
                    <a:pt x="439598" y="425115"/>
                    <a:pt x="439598" y="430879"/>
                    <a:pt x="440637" y="436501"/>
                  </a:cubicBezTo>
                  <a:lnTo>
                    <a:pt x="297214" y="519254"/>
                  </a:lnTo>
                  <a:cubicBezTo>
                    <a:pt x="292891" y="515551"/>
                    <a:pt x="287932" y="512664"/>
                    <a:pt x="282579" y="510732"/>
                  </a:cubicBezTo>
                  <a:close/>
                  <a:moveTo>
                    <a:pt x="486828" y="443533"/>
                  </a:moveTo>
                  <a:cubicBezTo>
                    <a:pt x="478219" y="443533"/>
                    <a:pt x="471241" y="436555"/>
                    <a:pt x="471241" y="427945"/>
                  </a:cubicBezTo>
                  <a:cubicBezTo>
                    <a:pt x="471241" y="419336"/>
                    <a:pt x="478219" y="412357"/>
                    <a:pt x="486828" y="412357"/>
                  </a:cubicBezTo>
                  <a:cubicBezTo>
                    <a:pt x="495438" y="412357"/>
                    <a:pt x="502416" y="419336"/>
                    <a:pt x="502416" y="427945"/>
                  </a:cubicBezTo>
                  <a:cubicBezTo>
                    <a:pt x="502416" y="436555"/>
                    <a:pt x="495438" y="443533"/>
                    <a:pt x="486828" y="443533"/>
                  </a:cubicBezTo>
                  <a:close/>
                  <a:moveTo>
                    <a:pt x="486828" y="158522"/>
                  </a:moveTo>
                  <a:cubicBezTo>
                    <a:pt x="495438" y="158522"/>
                    <a:pt x="502416" y="165500"/>
                    <a:pt x="502416" y="174110"/>
                  </a:cubicBezTo>
                  <a:cubicBezTo>
                    <a:pt x="502416" y="182719"/>
                    <a:pt x="495438" y="189697"/>
                    <a:pt x="486828" y="189697"/>
                  </a:cubicBezTo>
                  <a:cubicBezTo>
                    <a:pt x="478219" y="189697"/>
                    <a:pt x="471241" y="182719"/>
                    <a:pt x="471241" y="174110"/>
                  </a:cubicBezTo>
                  <a:cubicBezTo>
                    <a:pt x="471241" y="165500"/>
                    <a:pt x="478219" y="158522"/>
                    <a:pt x="486828" y="158522"/>
                  </a:cubicBezTo>
                  <a:close/>
                  <a:moveTo>
                    <a:pt x="266991" y="31553"/>
                  </a:moveTo>
                  <a:cubicBezTo>
                    <a:pt x="275601" y="31553"/>
                    <a:pt x="282579" y="38531"/>
                    <a:pt x="282579" y="47140"/>
                  </a:cubicBezTo>
                  <a:cubicBezTo>
                    <a:pt x="282579" y="55749"/>
                    <a:pt x="275601" y="62728"/>
                    <a:pt x="266991" y="62728"/>
                  </a:cubicBezTo>
                  <a:cubicBezTo>
                    <a:pt x="258382" y="62728"/>
                    <a:pt x="251404" y="55749"/>
                    <a:pt x="251404" y="47140"/>
                  </a:cubicBezTo>
                  <a:cubicBezTo>
                    <a:pt x="251404" y="38531"/>
                    <a:pt x="258382" y="31553"/>
                    <a:pt x="266991" y="31553"/>
                  </a:cubicBezTo>
                  <a:close/>
                  <a:moveTo>
                    <a:pt x="46912" y="158522"/>
                  </a:moveTo>
                  <a:cubicBezTo>
                    <a:pt x="55521" y="158522"/>
                    <a:pt x="62499" y="165500"/>
                    <a:pt x="62499" y="174110"/>
                  </a:cubicBezTo>
                  <a:cubicBezTo>
                    <a:pt x="62499" y="182719"/>
                    <a:pt x="55521" y="189697"/>
                    <a:pt x="46912" y="189697"/>
                  </a:cubicBezTo>
                  <a:cubicBezTo>
                    <a:pt x="38303" y="189697"/>
                    <a:pt x="31324" y="182719"/>
                    <a:pt x="31324" y="174110"/>
                  </a:cubicBezTo>
                  <a:cubicBezTo>
                    <a:pt x="31324" y="165500"/>
                    <a:pt x="38303" y="158522"/>
                    <a:pt x="46912" y="158522"/>
                  </a:cubicBezTo>
                  <a:close/>
                  <a:moveTo>
                    <a:pt x="46912" y="443533"/>
                  </a:moveTo>
                  <a:cubicBezTo>
                    <a:pt x="38303" y="443533"/>
                    <a:pt x="31324" y="436555"/>
                    <a:pt x="31324" y="427945"/>
                  </a:cubicBezTo>
                  <a:cubicBezTo>
                    <a:pt x="31324" y="419336"/>
                    <a:pt x="38303" y="412357"/>
                    <a:pt x="46912" y="412357"/>
                  </a:cubicBezTo>
                  <a:cubicBezTo>
                    <a:pt x="55521" y="412357"/>
                    <a:pt x="62499" y="419336"/>
                    <a:pt x="62499" y="427945"/>
                  </a:cubicBezTo>
                  <a:cubicBezTo>
                    <a:pt x="62499" y="436555"/>
                    <a:pt x="55521" y="443533"/>
                    <a:pt x="46912" y="443533"/>
                  </a:cubicBezTo>
                  <a:close/>
                  <a:moveTo>
                    <a:pt x="266714" y="570502"/>
                  </a:moveTo>
                  <a:cubicBezTo>
                    <a:pt x="258105" y="570502"/>
                    <a:pt x="251127" y="563524"/>
                    <a:pt x="251127" y="554915"/>
                  </a:cubicBezTo>
                  <a:cubicBezTo>
                    <a:pt x="251127" y="546305"/>
                    <a:pt x="258105" y="539327"/>
                    <a:pt x="266714" y="539327"/>
                  </a:cubicBezTo>
                  <a:cubicBezTo>
                    <a:pt x="275324" y="539327"/>
                    <a:pt x="282302" y="546305"/>
                    <a:pt x="282302" y="554915"/>
                  </a:cubicBezTo>
                  <a:cubicBezTo>
                    <a:pt x="282302" y="563510"/>
                    <a:pt x="275345" y="570483"/>
                    <a:pt x="266749" y="570502"/>
                  </a:cubicBezTo>
                  <a:close/>
                </a:path>
              </a:pathLst>
            </a:custGeom>
            <a:grpFill/>
            <a:ln w="173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6" name="Полилиния: фигура 25">
              <a:extLst>
                <a:ext uri="{FF2B5EF4-FFF2-40B4-BE49-F238E27FC236}">
                  <a16:creationId xmlns:a16="http://schemas.microsoft.com/office/drawing/2014/main" id="{576B4484-4BF4-4B84-96C2-1910A4C9D8BE}"/>
                </a:ext>
              </a:extLst>
            </p:cNvPr>
            <p:cNvSpPr/>
            <p:nvPr/>
          </p:nvSpPr>
          <p:spPr>
            <a:xfrm>
              <a:off x="501627" y="2066515"/>
              <a:ext cx="78492" cy="78492"/>
            </a:xfrm>
            <a:custGeom>
              <a:avLst/>
              <a:gdLst>
                <a:gd name="connsiteX0" fmla="*/ 31418 w 78492"/>
                <a:gd name="connsiteY0" fmla="*/ 31400 h 78492"/>
                <a:gd name="connsiteX1" fmla="*/ 78492 w 78492"/>
                <a:gd name="connsiteY1" fmla="*/ 31400 h 78492"/>
                <a:gd name="connsiteX2" fmla="*/ 78492 w 78492"/>
                <a:gd name="connsiteY2" fmla="*/ 0 h 78492"/>
                <a:gd name="connsiteX3" fmla="*/ 0 w 78492"/>
                <a:gd name="connsiteY3" fmla="*/ 0 h 78492"/>
                <a:gd name="connsiteX4" fmla="*/ 0 w 78492"/>
                <a:gd name="connsiteY4" fmla="*/ 78492 h 78492"/>
                <a:gd name="connsiteX5" fmla="*/ 31418 w 78492"/>
                <a:gd name="connsiteY5" fmla="*/ 78492 h 78492"/>
                <a:gd name="connsiteX6" fmla="*/ 31418 w 78492"/>
                <a:gd name="connsiteY6" fmla="*/ 31400 h 7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492" h="78492">
                  <a:moveTo>
                    <a:pt x="31418" y="31400"/>
                  </a:moveTo>
                  <a:lnTo>
                    <a:pt x="78492" y="31400"/>
                  </a:lnTo>
                  <a:lnTo>
                    <a:pt x="78492" y="0"/>
                  </a:lnTo>
                  <a:lnTo>
                    <a:pt x="0" y="0"/>
                  </a:lnTo>
                  <a:lnTo>
                    <a:pt x="0" y="78492"/>
                  </a:lnTo>
                  <a:lnTo>
                    <a:pt x="31418" y="78492"/>
                  </a:lnTo>
                  <a:lnTo>
                    <a:pt x="31418" y="31400"/>
                  </a:lnTo>
                  <a:close/>
                </a:path>
              </a:pathLst>
            </a:custGeom>
            <a:grpFill/>
            <a:ln w="173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7" name="Полилиния: фигура 26">
              <a:extLst>
                <a:ext uri="{FF2B5EF4-FFF2-40B4-BE49-F238E27FC236}">
                  <a16:creationId xmlns:a16="http://schemas.microsoft.com/office/drawing/2014/main" id="{3B93C5A2-750A-46F1-A5C4-36E9D8FF0F6B}"/>
                </a:ext>
              </a:extLst>
            </p:cNvPr>
            <p:cNvSpPr/>
            <p:nvPr/>
          </p:nvSpPr>
          <p:spPr>
            <a:xfrm>
              <a:off x="501627" y="2553090"/>
              <a:ext cx="78492" cy="78492"/>
            </a:xfrm>
            <a:custGeom>
              <a:avLst/>
              <a:gdLst>
                <a:gd name="connsiteX0" fmla="*/ 31418 w 78492"/>
                <a:gd name="connsiteY0" fmla="*/ 0 h 78492"/>
                <a:gd name="connsiteX1" fmla="*/ 0 w 78492"/>
                <a:gd name="connsiteY1" fmla="*/ 0 h 78492"/>
                <a:gd name="connsiteX2" fmla="*/ 0 w 78492"/>
                <a:gd name="connsiteY2" fmla="*/ 78492 h 78492"/>
                <a:gd name="connsiteX3" fmla="*/ 78492 w 78492"/>
                <a:gd name="connsiteY3" fmla="*/ 78492 h 78492"/>
                <a:gd name="connsiteX4" fmla="*/ 78492 w 78492"/>
                <a:gd name="connsiteY4" fmla="*/ 47092 h 78492"/>
                <a:gd name="connsiteX5" fmla="*/ 31418 w 78492"/>
                <a:gd name="connsiteY5" fmla="*/ 47092 h 78492"/>
                <a:gd name="connsiteX6" fmla="*/ 31418 w 78492"/>
                <a:gd name="connsiteY6" fmla="*/ 0 h 7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492" h="78492">
                  <a:moveTo>
                    <a:pt x="31418" y="0"/>
                  </a:moveTo>
                  <a:lnTo>
                    <a:pt x="0" y="0"/>
                  </a:lnTo>
                  <a:lnTo>
                    <a:pt x="0" y="78492"/>
                  </a:lnTo>
                  <a:lnTo>
                    <a:pt x="78492" y="78492"/>
                  </a:lnTo>
                  <a:lnTo>
                    <a:pt x="78492" y="47092"/>
                  </a:lnTo>
                  <a:lnTo>
                    <a:pt x="31418" y="47092"/>
                  </a:lnTo>
                  <a:lnTo>
                    <a:pt x="31418" y="0"/>
                  </a:lnTo>
                  <a:close/>
                </a:path>
              </a:pathLst>
            </a:custGeom>
            <a:grpFill/>
            <a:ln w="173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8" name="Полилиния: фигура 27">
              <a:extLst>
                <a:ext uri="{FF2B5EF4-FFF2-40B4-BE49-F238E27FC236}">
                  <a16:creationId xmlns:a16="http://schemas.microsoft.com/office/drawing/2014/main" id="{3C791E82-B325-4925-98FD-F462061AA404}"/>
                </a:ext>
              </a:extLst>
            </p:cNvPr>
            <p:cNvSpPr/>
            <p:nvPr/>
          </p:nvSpPr>
          <p:spPr>
            <a:xfrm>
              <a:off x="988254" y="2553090"/>
              <a:ext cx="78474" cy="78492"/>
            </a:xfrm>
            <a:custGeom>
              <a:avLst/>
              <a:gdLst>
                <a:gd name="connsiteX0" fmla="*/ 47075 w 78474"/>
                <a:gd name="connsiteY0" fmla="*/ 47092 h 78492"/>
                <a:gd name="connsiteX1" fmla="*/ 0 w 78474"/>
                <a:gd name="connsiteY1" fmla="*/ 47092 h 78492"/>
                <a:gd name="connsiteX2" fmla="*/ 0 w 78474"/>
                <a:gd name="connsiteY2" fmla="*/ 78492 h 78492"/>
                <a:gd name="connsiteX3" fmla="*/ 78475 w 78474"/>
                <a:gd name="connsiteY3" fmla="*/ 78492 h 78492"/>
                <a:gd name="connsiteX4" fmla="*/ 78475 w 78474"/>
                <a:gd name="connsiteY4" fmla="*/ 0 h 78492"/>
                <a:gd name="connsiteX5" fmla="*/ 47075 w 78474"/>
                <a:gd name="connsiteY5" fmla="*/ 0 h 78492"/>
                <a:gd name="connsiteX6" fmla="*/ 47075 w 78474"/>
                <a:gd name="connsiteY6" fmla="*/ 47092 h 7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474" h="78492">
                  <a:moveTo>
                    <a:pt x="47075" y="47092"/>
                  </a:moveTo>
                  <a:lnTo>
                    <a:pt x="0" y="47092"/>
                  </a:lnTo>
                  <a:lnTo>
                    <a:pt x="0" y="78492"/>
                  </a:lnTo>
                  <a:lnTo>
                    <a:pt x="78475" y="78492"/>
                  </a:lnTo>
                  <a:lnTo>
                    <a:pt x="78475" y="0"/>
                  </a:lnTo>
                  <a:lnTo>
                    <a:pt x="47075" y="0"/>
                  </a:lnTo>
                  <a:lnTo>
                    <a:pt x="47075" y="47092"/>
                  </a:lnTo>
                  <a:close/>
                </a:path>
              </a:pathLst>
            </a:custGeom>
            <a:grpFill/>
            <a:ln w="173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9" name="Полилиния: фигура 28">
              <a:extLst>
                <a:ext uri="{FF2B5EF4-FFF2-40B4-BE49-F238E27FC236}">
                  <a16:creationId xmlns:a16="http://schemas.microsoft.com/office/drawing/2014/main" id="{FC546DFF-E55D-4C78-B42B-D0151C3051EC}"/>
                </a:ext>
              </a:extLst>
            </p:cNvPr>
            <p:cNvSpPr/>
            <p:nvPr/>
          </p:nvSpPr>
          <p:spPr>
            <a:xfrm>
              <a:off x="985622" y="2066515"/>
              <a:ext cx="81107" cy="81124"/>
            </a:xfrm>
            <a:custGeom>
              <a:avLst/>
              <a:gdLst>
                <a:gd name="connsiteX0" fmla="*/ 0 w 81107"/>
                <a:gd name="connsiteY0" fmla="*/ 0 h 81124"/>
                <a:gd name="connsiteX1" fmla="*/ 0 w 81107"/>
                <a:gd name="connsiteY1" fmla="*/ 31400 h 81124"/>
                <a:gd name="connsiteX2" fmla="*/ 49707 w 81107"/>
                <a:gd name="connsiteY2" fmla="*/ 31400 h 81124"/>
                <a:gd name="connsiteX3" fmla="*/ 49707 w 81107"/>
                <a:gd name="connsiteY3" fmla="*/ 81125 h 81124"/>
                <a:gd name="connsiteX4" fmla="*/ 81107 w 81107"/>
                <a:gd name="connsiteY4" fmla="*/ 81125 h 81124"/>
                <a:gd name="connsiteX5" fmla="*/ 81107 w 81107"/>
                <a:gd name="connsiteY5" fmla="*/ 0 h 81124"/>
                <a:gd name="connsiteX6" fmla="*/ 0 w 81107"/>
                <a:gd name="connsiteY6" fmla="*/ 0 h 8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107" h="81124">
                  <a:moveTo>
                    <a:pt x="0" y="0"/>
                  </a:moveTo>
                  <a:lnTo>
                    <a:pt x="0" y="31400"/>
                  </a:lnTo>
                  <a:lnTo>
                    <a:pt x="49707" y="31400"/>
                  </a:lnTo>
                  <a:lnTo>
                    <a:pt x="49707" y="81125"/>
                  </a:lnTo>
                  <a:lnTo>
                    <a:pt x="81107" y="81125"/>
                  </a:lnTo>
                  <a:lnTo>
                    <a:pt x="8110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32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1404880" y="5618520"/>
            <a:ext cx="1029944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chemeClr val="bg1"/>
                </a:solidFill>
              </a:rPr>
              <a:t>Планируется привлечение лучших участников </a:t>
            </a:r>
            <a:r>
              <a:rPr lang="ru-RU" sz="2000" b="1" dirty="0" err="1">
                <a:solidFill>
                  <a:schemeClr val="bg1"/>
                </a:solidFill>
              </a:rPr>
              <a:t>хакатона</a:t>
            </a:r>
            <a:r>
              <a:rPr lang="ru-RU" sz="2000" b="1" dirty="0">
                <a:solidFill>
                  <a:schemeClr val="bg1"/>
                </a:solidFill>
              </a:rPr>
              <a:t> для </a:t>
            </a:r>
            <a:r>
              <a:rPr lang="ru-RU" sz="2000" b="1" dirty="0" smtClean="0">
                <a:solidFill>
                  <a:schemeClr val="bg1"/>
                </a:solidFill>
              </a:rPr>
              <a:t>участия </a:t>
            </a:r>
          </a:p>
          <a:p>
            <a:r>
              <a:rPr lang="ru-RU" sz="2000" b="1" dirty="0" smtClean="0">
                <a:solidFill>
                  <a:schemeClr val="bg1"/>
                </a:solidFill>
              </a:rPr>
              <a:t>в разработке и развитии системы</a:t>
            </a:r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71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A9DF01C-8921-D0A6-FC6D-D26D74E22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9" name="Rectangle 286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21930" y="896268"/>
            <a:ext cx="11362084" cy="442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b="1" dirty="0">
              <a:solidFill>
                <a:schemeClr val="accent1"/>
              </a:solidFill>
            </a:endParaRPr>
          </a:p>
        </p:txBody>
      </p:sp>
      <p:sp>
        <p:nvSpPr>
          <p:cNvPr id="7" name="Заголовок 2"/>
          <p:cNvSpPr txBox="1">
            <a:spLocks/>
          </p:cNvSpPr>
          <p:nvPr/>
        </p:nvSpPr>
        <p:spPr>
          <a:xfrm>
            <a:off x="421930" y="372021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 smtClean="0"/>
              <a:t>Критерии оценки результата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228451"/>
              </p:ext>
            </p:extLst>
          </p:nvPr>
        </p:nvGraphicFramePr>
        <p:xfrm>
          <a:off x="333954" y="896269"/>
          <a:ext cx="11450060" cy="5405628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389615">
                  <a:extLst>
                    <a:ext uri="{9D8B030D-6E8A-4147-A177-3AD203B41FA5}">
                      <a16:colId xmlns:a16="http://schemas.microsoft.com/office/drawing/2014/main" val="3992509460"/>
                    </a:ext>
                  </a:extLst>
                </a:gridCol>
                <a:gridCol w="8429575">
                  <a:extLst>
                    <a:ext uri="{9D8B030D-6E8A-4147-A177-3AD203B41FA5}">
                      <a16:colId xmlns:a16="http://schemas.microsoft.com/office/drawing/2014/main" val="567168540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865490023"/>
                    </a:ext>
                  </a:extLst>
                </a:gridCol>
                <a:gridCol w="1433006">
                  <a:extLst>
                    <a:ext uri="{9D8B030D-6E8A-4147-A177-3AD203B41FA5}">
                      <a16:colId xmlns:a16="http://schemas.microsoft.com/office/drawing/2014/main" val="4036986083"/>
                    </a:ext>
                  </a:extLst>
                </a:gridCol>
              </a:tblGrid>
              <a:tr h="605028"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F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</a:rPr>
                        <a:t>Критерии готовности продукта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F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 smtClean="0"/>
                        <a:t>Базовый результат</a:t>
                      </a:r>
                      <a:endParaRPr lang="ru-RU" sz="13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F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 smtClean="0"/>
                        <a:t>Амбициозный</a:t>
                      </a:r>
                      <a:r>
                        <a:rPr lang="ru-RU" sz="1300" baseline="0" dirty="0" smtClean="0"/>
                        <a:t> результат</a:t>
                      </a:r>
                      <a:endParaRPr lang="ru-RU" sz="13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F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2568961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горитм должен показывать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торяемость результатов измерений в рамках погрешности при проведении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стов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предоставленных фотографиях</a:t>
                      </a:r>
                      <a:endParaRPr lang="ru-RU" sz="1300" dirty="0" smtClean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7768679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терфейс программного обеспечения должен отображать результаты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змерений (допустимо в цифровом виде)</a:t>
                      </a:r>
                      <a:endParaRPr lang="ru-RU" sz="1300" dirty="0" smtClean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22235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горитм измерения геометрии должен обеспечивать погрешность измерений не более 0,1 мм</a:t>
                      </a:r>
                      <a:endParaRPr lang="ru-RU" sz="1300" dirty="0" smtClean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80836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горитм измерения геометрии должен выполнять измерение не более, чем за 1 секунду</a:t>
                      </a:r>
                      <a:endParaRPr lang="ru-RU" sz="13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444591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горитм измерения геометрии должен иметь возможность повышения точности измерений 3</a:t>
                      </a:r>
                      <a:r>
                        <a:rPr lang="en-US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ометрии объекта при интеграции со структурированным подсветом</a:t>
                      </a:r>
                      <a:endParaRPr lang="ru-RU" sz="13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6889059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раммное обеспечение должно иметь возможность реконструкции и визуализации моделей на основе результатов сканирования</a:t>
                      </a: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-</a:t>
                      </a:r>
                      <a:endParaRPr kumimoji="0" lang="ru-RU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1202615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1" indent="0" algn="ctr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8440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горитм измерения геометрии должен иметь возможность интеграции с различными оптическими схемами и параметрами оборудования (разрешение, быстродействие камер, плотность точек подсвета и т.д.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en-US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3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331596"/>
                  </a:ext>
                </a:extLst>
              </a:tr>
            </a:tbl>
          </a:graphicData>
        </a:graphic>
      </p:graphicFrame>
      <p:sp>
        <p:nvSpPr>
          <p:cNvPr id="10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20538" y="6595989"/>
            <a:ext cx="863476" cy="161711"/>
          </a:xfrm>
        </p:spPr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5827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A9DF01C-8921-D0A6-FC6D-D26D74E22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9" name="Rectangle 286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21930" y="843404"/>
            <a:ext cx="11362084" cy="2990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b="1" dirty="0" smtClean="0">
              <a:solidFill>
                <a:srgbClr val="FF0000"/>
              </a:solidFill>
            </a:endParaRPr>
          </a:p>
          <a:p>
            <a:r>
              <a:rPr lang="ru-RU" b="1" dirty="0" smtClean="0">
                <a:solidFill>
                  <a:schemeClr val="accent1"/>
                </a:solidFill>
              </a:rPr>
              <a:t>Калибровочные сетки				      Маркерные фигуры	</a:t>
            </a:r>
            <a:r>
              <a:rPr lang="ru-RU" b="1" dirty="0" smtClean="0">
                <a:solidFill>
                  <a:srgbClr val="002F6C"/>
                </a:solidFill>
              </a:rPr>
              <a:t>	</a:t>
            </a:r>
          </a:p>
          <a:p>
            <a:pPr marL="895350">
              <a:tabLst>
                <a:tab pos="3492500" algn="l"/>
              </a:tabLst>
            </a:pPr>
            <a:r>
              <a:rPr lang="ru-RU" b="1" dirty="0" smtClean="0">
                <a:solidFill>
                  <a:srgbClr val="002F6C"/>
                </a:solidFill>
              </a:rPr>
              <a:t>5 мм	2,5 мм</a:t>
            </a:r>
            <a:endParaRPr lang="ru-RU" b="1" dirty="0">
              <a:solidFill>
                <a:srgbClr val="002F6C"/>
              </a:solidFill>
            </a:endParaRPr>
          </a:p>
        </p:txBody>
      </p:sp>
      <p:sp>
        <p:nvSpPr>
          <p:cNvPr id="7" name="Заголовок 2"/>
          <p:cNvSpPr txBox="1">
            <a:spLocks/>
          </p:cNvSpPr>
          <p:nvPr/>
        </p:nvSpPr>
        <p:spPr>
          <a:xfrm>
            <a:off x="421930" y="372021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 smtClean="0">
                <a:solidFill>
                  <a:srgbClr val="002F6C"/>
                </a:solidFill>
              </a:rPr>
              <a:t>Примеры изображений для обучения </a:t>
            </a:r>
            <a:r>
              <a:rPr lang="ru-RU" dirty="0">
                <a:solidFill>
                  <a:srgbClr val="002F6C"/>
                </a:solidFill>
              </a:rPr>
              <a:t>алгоритм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20538" y="6595989"/>
            <a:ext cx="863476" cy="161711"/>
          </a:xfrm>
        </p:spPr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930" y="1623028"/>
            <a:ext cx="2338025" cy="330418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2384" y="1615963"/>
            <a:ext cx="2346855" cy="331125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434" y="4066464"/>
            <a:ext cx="2263188" cy="203508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058" y="4066464"/>
            <a:ext cx="2836942" cy="200782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2"/>
          <a:stretch/>
        </p:blipFill>
        <p:spPr>
          <a:xfrm>
            <a:off x="8593058" y="1615963"/>
            <a:ext cx="2826782" cy="233732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434" y="1612803"/>
            <a:ext cx="2263188" cy="233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87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A9DF01C-8921-D0A6-FC6D-D26D74E22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9" name="Rectangle 286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21930" y="1077641"/>
            <a:ext cx="11362084" cy="2990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1"/>
                </a:solidFill>
              </a:rPr>
              <a:t>Калибровочная сетка				Маркерная башня</a:t>
            </a:r>
            <a:r>
              <a:rPr lang="ru-RU" b="1" dirty="0" smtClean="0">
                <a:solidFill>
                  <a:srgbClr val="002F6C"/>
                </a:solidFill>
              </a:rPr>
              <a:t>				</a:t>
            </a:r>
          </a:p>
        </p:txBody>
      </p:sp>
      <p:sp>
        <p:nvSpPr>
          <p:cNvPr id="7" name="Заголовок 2"/>
          <p:cNvSpPr txBox="1">
            <a:spLocks/>
          </p:cNvSpPr>
          <p:nvPr/>
        </p:nvSpPr>
        <p:spPr>
          <a:xfrm>
            <a:off x="421930" y="372021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/>
              <a:t>Примеры парных фотографий объектов для тестирования алгоритм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20538" y="6595989"/>
            <a:ext cx="863476" cy="161711"/>
          </a:xfrm>
        </p:spPr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  <p:sp>
        <p:nvSpPr>
          <p:cNvPr id="11" name="Rectangle 286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421930" y="5102515"/>
            <a:ext cx="5006453" cy="1073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dirty="0" smtClean="0">
                <a:solidFill>
                  <a:srgbClr val="FF0000"/>
                </a:solidFill>
              </a:rPr>
              <a:t>Что нужно измерять для тестирования?</a:t>
            </a:r>
          </a:p>
          <a:p>
            <a:pPr marL="342900" indent="-342900">
              <a:buAutoNum type="arabicParenR"/>
            </a:pPr>
            <a:r>
              <a:rPr lang="ru-RU" b="1" dirty="0" smtClean="0">
                <a:solidFill>
                  <a:srgbClr val="002F6C"/>
                </a:solidFill>
              </a:rPr>
              <a:t>Расстояние между центрами черных окружностей</a:t>
            </a:r>
          </a:p>
          <a:p>
            <a:pPr marL="342900" indent="-342900">
              <a:buAutoNum type="arabicParenR"/>
            </a:pPr>
            <a:r>
              <a:rPr lang="ru-RU" b="1" dirty="0" smtClean="0">
                <a:solidFill>
                  <a:srgbClr val="002F6C"/>
                </a:solidFill>
              </a:rPr>
              <a:t>Диаметр белых окружностей</a:t>
            </a:r>
          </a:p>
          <a:p>
            <a:pPr marL="342900" indent="-342900">
              <a:buAutoNum type="arabicParenR"/>
            </a:pPr>
            <a:endParaRPr lang="ru-RU" b="1" dirty="0" smtClean="0">
              <a:solidFill>
                <a:srgbClr val="FF0000"/>
              </a:solidFill>
            </a:endParaRPr>
          </a:p>
          <a:p>
            <a:endParaRPr lang="ru-RU" b="1" dirty="0">
              <a:solidFill>
                <a:srgbClr val="002F6C"/>
              </a:solidFill>
            </a:endParaRPr>
          </a:p>
        </p:txBody>
      </p:sp>
      <p:sp>
        <p:nvSpPr>
          <p:cNvPr id="12" name="Rectangle 286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5845690" y="5102515"/>
            <a:ext cx="6023222" cy="1073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b="1" dirty="0" smtClean="0">
              <a:solidFill>
                <a:srgbClr val="FF0000"/>
              </a:solidFill>
            </a:endParaRPr>
          </a:p>
          <a:p>
            <a:r>
              <a:rPr lang="ru-RU" b="1" dirty="0">
                <a:solidFill>
                  <a:srgbClr val="002F6C"/>
                </a:solidFill>
              </a:rPr>
              <a:t>1</a:t>
            </a:r>
            <a:r>
              <a:rPr lang="ru-RU" b="1" dirty="0" smtClean="0">
                <a:solidFill>
                  <a:srgbClr val="002F6C"/>
                </a:solidFill>
              </a:rPr>
              <a:t>) Расстояние между центрами клеевых точек на объект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06" t="23028" r="30206"/>
          <a:stretch/>
        </p:blipFill>
        <p:spPr>
          <a:xfrm>
            <a:off x="464034" y="1490520"/>
            <a:ext cx="1991859" cy="309832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0" t="52229" r="5080"/>
          <a:stretch/>
        </p:blipFill>
        <p:spPr>
          <a:xfrm>
            <a:off x="5845690" y="3218109"/>
            <a:ext cx="3767328" cy="169985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07" t="23050" r="32137"/>
          <a:stretch/>
        </p:blipFill>
        <p:spPr>
          <a:xfrm>
            <a:off x="2510984" y="1490521"/>
            <a:ext cx="2106736" cy="312098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4" t="55918" r="2115"/>
          <a:stretch/>
        </p:blipFill>
        <p:spPr>
          <a:xfrm>
            <a:off x="5850262" y="1464023"/>
            <a:ext cx="3758184" cy="1569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944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A9DF01C-8921-D0A6-FC6D-D26D74E22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9" name="Rectangle 286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14959" y="1333957"/>
            <a:ext cx="11362084" cy="354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1"/>
                </a:solidFill>
              </a:rPr>
              <a:t>Металлический лист в цеху проката</a:t>
            </a:r>
          </a:p>
        </p:txBody>
      </p:sp>
      <p:sp>
        <p:nvSpPr>
          <p:cNvPr id="7" name="Заголовок 2"/>
          <p:cNvSpPr txBox="1">
            <a:spLocks/>
          </p:cNvSpPr>
          <p:nvPr/>
        </p:nvSpPr>
        <p:spPr>
          <a:xfrm>
            <a:off x="421930" y="241216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/>
              <a:t>Пример фотографии реального производственного объекта для тестирования алгоритм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20538" y="6595989"/>
            <a:ext cx="863476" cy="161711"/>
          </a:xfrm>
        </p:spPr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  <p:sp>
        <p:nvSpPr>
          <p:cNvPr id="11" name="Rectangle 286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421930" y="3904733"/>
            <a:ext cx="5006453" cy="1073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59" indent="-194652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3274" indent="-265431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&gt;"/>
              <a:defRPr sz="1600">
                <a:solidFill>
                  <a:schemeClr val="tx1"/>
                </a:solidFill>
                <a:latin typeface="+mn-lt"/>
              </a:defRPr>
            </a:lvl3pPr>
            <a:lvl4pPr marL="622551" indent="-157656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59804" indent="-131909" algn="l" defTabSz="90728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dirty="0" smtClean="0">
                <a:solidFill>
                  <a:srgbClr val="FF0000"/>
                </a:solidFill>
              </a:rPr>
              <a:t>Что нужно измерять для тестирования?</a:t>
            </a:r>
          </a:p>
          <a:p>
            <a:pPr marL="342900" indent="-342900">
              <a:buAutoNum type="arabicParenR"/>
            </a:pPr>
            <a:r>
              <a:rPr lang="ru-RU" b="1" dirty="0" smtClean="0">
                <a:solidFill>
                  <a:srgbClr val="002F6C"/>
                </a:solidFill>
              </a:rPr>
              <a:t>Длина листа</a:t>
            </a:r>
          </a:p>
          <a:p>
            <a:pPr marL="342900" indent="-342900">
              <a:buAutoNum type="arabicParenR"/>
            </a:pPr>
            <a:r>
              <a:rPr lang="ru-RU" b="1" dirty="0" smtClean="0">
                <a:solidFill>
                  <a:srgbClr val="002F6C"/>
                </a:solidFill>
              </a:rPr>
              <a:t>Ширина листа</a:t>
            </a:r>
          </a:p>
          <a:p>
            <a:pPr marL="342900" indent="-342900">
              <a:buAutoNum type="arabicParenR"/>
            </a:pPr>
            <a:endParaRPr lang="ru-RU" b="1" dirty="0" smtClean="0">
              <a:solidFill>
                <a:srgbClr val="FF0000"/>
              </a:solidFill>
            </a:endParaRPr>
          </a:p>
          <a:p>
            <a:endParaRPr lang="ru-RU" b="1" dirty="0">
              <a:solidFill>
                <a:srgbClr val="002F6C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5218947" y="-3108914"/>
            <a:ext cx="1625600" cy="1121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28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A9DF01C-8921-D0A6-FC6D-D26D74E22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Заголовок 2"/>
          <p:cNvSpPr txBox="1">
            <a:spLocks/>
          </p:cNvSpPr>
          <p:nvPr/>
        </p:nvSpPr>
        <p:spPr>
          <a:xfrm>
            <a:off x="421930" y="372021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/>
              <a:t>Принцип выполнения фотографий для тестирования алгоритмов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20538" y="6595989"/>
            <a:ext cx="863476" cy="161711"/>
          </a:xfrm>
        </p:spPr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  <p:sp>
        <p:nvSpPr>
          <p:cNvPr id="15" name="Овал 14"/>
          <p:cNvSpPr/>
          <p:nvPr/>
        </p:nvSpPr>
        <p:spPr>
          <a:xfrm>
            <a:off x="4203423" y="915347"/>
            <a:ext cx="1483360" cy="1483360"/>
          </a:xfrm>
          <a:prstGeom prst="ellipse">
            <a:avLst/>
          </a:prstGeom>
          <a:solidFill>
            <a:schemeClr val="tx2">
              <a:lumMod val="20000"/>
              <a:lumOff val="80000"/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12804" y="6019857"/>
            <a:ext cx="7381237" cy="369332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0" rIns="72000" bIns="0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Принцип триангуляции: </a:t>
            </a:r>
            <a:r>
              <a:rPr lang="en-US" sz="1200" b="1" dirty="0">
                <a:solidFill>
                  <a:schemeClr val="bg1"/>
                </a:solidFill>
                <a:hlinkClick r:id="rId4"/>
              </a:rPr>
              <a:t>https://habr.com/ru/companies/skillfactory/articles/652599</a:t>
            </a:r>
            <a:r>
              <a:rPr lang="en-US" sz="1200" b="1" dirty="0" smtClean="0">
                <a:solidFill>
                  <a:schemeClr val="bg1"/>
                </a:solidFill>
                <a:hlinkClick r:id="rId4"/>
              </a:rPr>
              <a:t>/</a:t>
            </a:r>
            <a:endParaRPr lang="ru-RU" sz="1200" b="1" dirty="0" smtClean="0">
              <a:solidFill>
                <a:schemeClr val="bg1"/>
              </a:solidFill>
            </a:endParaRPr>
          </a:p>
          <a:p>
            <a:r>
              <a:rPr lang="ru-RU" sz="1200" b="1" dirty="0" smtClean="0">
                <a:solidFill>
                  <a:schemeClr val="bg1"/>
                </a:solidFill>
              </a:rPr>
              <a:t>Камеры: </a:t>
            </a:r>
            <a:r>
              <a:rPr lang="en-US" sz="1200" b="1" dirty="0">
                <a:solidFill>
                  <a:schemeClr val="bg1"/>
                </a:solidFill>
                <a:hlinkClick r:id="rId5"/>
              </a:rPr>
              <a:t>https://www.hikrobotics.com/en/machinevision/productdetail/?</a:t>
            </a:r>
            <a:r>
              <a:rPr lang="en-US" sz="1200" b="1" dirty="0" smtClean="0">
                <a:solidFill>
                  <a:schemeClr val="bg1"/>
                </a:solidFill>
                <a:hlinkClick r:id="rId5"/>
              </a:rPr>
              <a:t>id=6249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0" t="3723" r="10271" b="21389"/>
          <a:stretch/>
        </p:blipFill>
        <p:spPr>
          <a:xfrm>
            <a:off x="3739616" y="798397"/>
            <a:ext cx="4038600" cy="5135880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>
            <a:off x="3628031" y="3049833"/>
            <a:ext cx="1483360" cy="1483360"/>
          </a:xfrm>
          <a:prstGeom prst="ellipse">
            <a:avLst/>
          </a:prstGeom>
          <a:solidFill>
            <a:schemeClr val="tx2">
              <a:lumMod val="20000"/>
              <a:lumOff val="80000"/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843113" y="3052374"/>
            <a:ext cx="896973" cy="184666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0" rIns="72000" bIns="0" rtlCol="0">
            <a:spAutoFit/>
          </a:bodyPr>
          <a:lstStyle/>
          <a:p>
            <a:pPr algn="l"/>
            <a:r>
              <a:rPr lang="ru-RU" sz="1200" b="1" dirty="0" smtClean="0">
                <a:solidFill>
                  <a:schemeClr val="bg1"/>
                </a:solidFill>
              </a:rPr>
              <a:t>Камера </a:t>
            </a:r>
            <a:r>
              <a:rPr lang="ru-RU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6084849" y="3079931"/>
            <a:ext cx="1788160" cy="1861520"/>
          </a:xfrm>
          <a:prstGeom prst="ellipse">
            <a:avLst/>
          </a:prstGeom>
          <a:solidFill>
            <a:schemeClr val="tx2">
              <a:lumMod val="20000"/>
              <a:lumOff val="80000"/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267502" y="3221234"/>
            <a:ext cx="1075992" cy="184666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0" rIns="72000" bIns="0" rtlCol="0">
            <a:spAutoFit/>
          </a:bodyPr>
          <a:lstStyle/>
          <a:p>
            <a:pPr algn="l"/>
            <a:r>
              <a:rPr lang="ru-RU" sz="1200" b="1" dirty="0" smtClean="0">
                <a:solidFill>
                  <a:schemeClr val="bg1"/>
                </a:solidFill>
              </a:rPr>
              <a:t>Камера </a:t>
            </a:r>
            <a:r>
              <a:rPr lang="ru-RU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5895FE8B-3B72-CB4E-9A15-BB89D487421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 flipH="1" flipV="1">
            <a:off x="5895886" y="3417324"/>
            <a:ext cx="543392" cy="689690"/>
          </a:xfrm>
          <a:prstGeom prst="rect">
            <a:avLst/>
          </a:prstGeom>
        </p:spPr>
      </p:pic>
      <p:sp>
        <p:nvSpPr>
          <p:cNvPr id="23" name="Овал 22"/>
          <p:cNvSpPr/>
          <p:nvPr/>
        </p:nvSpPr>
        <p:spPr>
          <a:xfrm>
            <a:off x="5006677" y="937491"/>
            <a:ext cx="1483360" cy="1483360"/>
          </a:xfrm>
          <a:prstGeom prst="ellipse">
            <a:avLst/>
          </a:prstGeom>
          <a:solidFill>
            <a:schemeClr val="tx2">
              <a:lumMod val="20000"/>
              <a:lumOff val="80000"/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373126" y="857269"/>
            <a:ext cx="1838302" cy="369332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0" rIns="72000" bIns="0" rtlCol="0">
            <a:spAutoFit/>
          </a:bodyPr>
          <a:lstStyle/>
          <a:p>
            <a:pPr algn="l"/>
            <a:r>
              <a:rPr lang="ru-RU" sz="1200" b="1" dirty="0" smtClean="0">
                <a:solidFill>
                  <a:schemeClr val="bg1"/>
                </a:solidFill>
              </a:rPr>
              <a:t>Месторасположение </a:t>
            </a:r>
          </a:p>
          <a:p>
            <a:pPr algn="l"/>
            <a:r>
              <a:rPr lang="ru-RU" sz="1200" b="1" dirty="0" smtClean="0">
                <a:solidFill>
                  <a:schemeClr val="bg1"/>
                </a:solidFill>
              </a:rPr>
              <a:t>объекта съемки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5895FE8B-3B72-CB4E-9A15-BB89D487421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 flipH="1" flipV="1">
            <a:off x="4721941" y="1312182"/>
            <a:ext cx="543392" cy="68969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895FE8B-3B72-CB4E-9A15-BB89D487421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 flipH="1" flipV="1">
            <a:off x="3373127" y="3253862"/>
            <a:ext cx="543392" cy="68969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8007715" y="6019856"/>
            <a:ext cx="1847485" cy="369332"/>
          </a:xfrm>
          <a:prstGeom prst="rect">
            <a:avLst/>
          </a:prstGeom>
          <a:solidFill>
            <a:srgbClr val="002F6C"/>
          </a:solidFill>
          <a:ln>
            <a:solidFill>
              <a:srgbClr val="002F6C"/>
            </a:solidFill>
          </a:ln>
        </p:spPr>
        <p:txBody>
          <a:bodyPr wrap="square" lIns="72000" tIns="0" rIns="72000" bIns="0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Ссылка на объектив:</a:t>
            </a:r>
          </a:p>
          <a:p>
            <a:endParaRPr lang="ru-RU" sz="1200" b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56412136"/>
              </p:ext>
            </p:extLst>
          </p:nvPr>
        </p:nvGraphicFramePr>
        <p:xfrm>
          <a:off x="9855200" y="5808440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Acrobat Document" showAsIcon="1" r:id="rId10" imgW="914400" imgH="792360" progId="AcroExch.Document.DC">
                  <p:embed/>
                </p:oleObj>
              </mc:Choice>
              <mc:Fallback>
                <p:oleObj name="Acrobat Document" showAsIcon="1" r:id="rId10" imgW="914400" imgH="79236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55200" y="5808440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71649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2"/>
          <p:cNvSpPr txBox="1">
            <a:spLocks/>
          </p:cNvSpPr>
          <p:nvPr/>
        </p:nvSpPr>
        <p:spPr>
          <a:xfrm>
            <a:off x="421930" y="372021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 smtClean="0"/>
              <a:t>Оптическая схема использованная при выполнении тестовых пар фотографий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20538" y="6595989"/>
            <a:ext cx="863476" cy="161711"/>
          </a:xfrm>
        </p:spPr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 rot="9023490">
            <a:off x="4146436" y="5261643"/>
            <a:ext cx="235109" cy="302234"/>
          </a:xfrm>
          <a:prstGeom prst="rect">
            <a:avLst/>
          </a:prstGeom>
          <a:noFill/>
          <a:ln w="9525">
            <a:solidFill>
              <a:schemeClr val="accent2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 rot="9023490">
            <a:off x="4099734" y="5276204"/>
            <a:ext cx="235109" cy="113420"/>
          </a:xfrm>
          <a:prstGeom prst="rect">
            <a:avLst/>
          </a:prstGeom>
          <a:noFill/>
          <a:ln w="9525">
            <a:solidFill>
              <a:schemeClr val="accent2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 rot="12686385">
            <a:off x="1370661" y="5208972"/>
            <a:ext cx="235109" cy="302234"/>
          </a:xfrm>
          <a:prstGeom prst="rect">
            <a:avLst/>
          </a:prstGeom>
          <a:noFill/>
          <a:ln w="9525">
            <a:solidFill>
              <a:schemeClr val="accent2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 rot="12686385">
            <a:off x="1417921" y="5223862"/>
            <a:ext cx="235109" cy="113420"/>
          </a:xfrm>
          <a:prstGeom prst="rect">
            <a:avLst/>
          </a:prstGeom>
          <a:noFill/>
          <a:ln w="9525">
            <a:solidFill>
              <a:schemeClr val="accent2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1515846" y="5007842"/>
            <a:ext cx="2734542" cy="384538"/>
            <a:chOff x="2826485" y="5038322"/>
            <a:chExt cx="2651336" cy="384538"/>
          </a:xfrm>
        </p:grpSpPr>
        <p:cxnSp>
          <p:nvCxnSpPr>
            <p:cNvPr id="9" name="Прямая со стрелкой 8"/>
            <p:cNvCxnSpPr/>
            <p:nvPr/>
          </p:nvCxnSpPr>
          <p:spPr bwMode="auto">
            <a:xfrm flipH="1">
              <a:off x="2835927" y="5073882"/>
              <a:ext cx="2623717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Прямая соединительная линия 18"/>
            <p:cNvCxnSpPr/>
            <p:nvPr/>
          </p:nvCxnSpPr>
          <p:spPr bwMode="auto">
            <a:xfrm rot="10800000">
              <a:off x="2826485" y="5038322"/>
              <a:ext cx="0" cy="32385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Прямая соединительная линия 30"/>
            <p:cNvCxnSpPr/>
            <p:nvPr/>
          </p:nvCxnSpPr>
          <p:spPr bwMode="auto">
            <a:xfrm flipH="1" flipV="1">
              <a:off x="5477820" y="5039360"/>
              <a:ext cx="1" cy="3835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0" name="TextBox 19"/>
          <p:cNvSpPr txBox="1"/>
          <p:nvPr/>
        </p:nvSpPr>
        <p:spPr>
          <a:xfrm>
            <a:off x="2211751" y="4792598"/>
            <a:ext cx="50975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12 мм</a:t>
            </a:r>
          </a:p>
        </p:txBody>
      </p:sp>
      <p:sp>
        <p:nvSpPr>
          <p:cNvPr id="43" name="Прямоугольник 42"/>
          <p:cNvSpPr/>
          <p:nvPr/>
        </p:nvSpPr>
        <p:spPr>
          <a:xfrm rot="10800000">
            <a:off x="2707098" y="1315635"/>
            <a:ext cx="308919" cy="91440"/>
          </a:xfrm>
          <a:prstGeom prst="rect">
            <a:avLst/>
          </a:prstGeom>
          <a:noFill/>
          <a:ln w="9525">
            <a:solidFill>
              <a:schemeClr val="accent2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 rot="10800000">
            <a:off x="855759" y="1219178"/>
            <a:ext cx="4333459" cy="4458652"/>
          </a:xfrm>
          <a:prstGeom prst="rect">
            <a:avLst/>
          </a:prstGeom>
          <a:noFill/>
          <a:ln w="9525">
            <a:solidFill>
              <a:schemeClr val="accent2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cxnSp>
        <p:nvCxnSpPr>
          <p:cNvPr id="38" name="Прямая со стрелкой 37"/>
          <p:cNvCxnSpPr/>
          <p:nvPr/>
        </p:nvCxnSpPr>
        <p:spPr bwMode="auto">
          <a:xfrm rot="16200000" flipH="1">
            <a:off x="898852" y="3346347"/>
            <a:ext cx="394231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Прямая соединительная линия 39"/>
          <p:cNvCxnSpPr/>
          <p:nvPr/>
        </p:nvCxnSpPr>
        <p:spPr bwMode="auto">
          <a:xfrm rot="10800000" flipH="1">
            <a:off x="2862143" y="1356275"/>
            <a:ext cx="2916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TextBox 60"/>
          <p:cNvSpPr txBox="1"/>
          <p:nvPr/>
        </p:nvSpPr>
        <p:spPr>
          <a:xfrm rot="5400000" flipH="1">
            <a:off x="2691626" y="3254014"/>
            <a:ext cx="682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639 мм</a:t>
            </a:r>
          </a:p>
        </p:txBody>
      </p:sp>
      <p:grpSp>
        <p:nvGrpSpPr>
          <p:cNvPr id="26" name="Группа 25"/>
          <p:cNvGrpSpPr/>
          <p:nvPr/>
        </p:nvGrpSpPr>
        <p:grpSpPr>
          <a:xfrm rot="20464718" flipH="1">
            <a:off x="3397998" y="1063310"/>
            <a:ext cx="1375297" cy="4360436"/>
            <a:chOff x="3482489" y="1382029"/>
            <a:chExt cx="1375297" cy="4164205"/>
          </a:xfrm>
        </p:grpSpPr>
        <p:cxnSp>
          <p:nvCxnSpPr>
            <p:cNvPr id="78" name="Прямая со стрелкой 77"/>
            <p:cNvCxnSpPr/>
            <p:nvPr/>
          </p:nvCxnSpPr>
          <p:spPr bwMode="auto">
            <a:xfrm rot="20464718" flipH="1">
              <a:off x="3482489" y="1510375"/>
              <a:ext cx="1375297" cy="383148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Прямая соединительная линия 80"/>
            <p:cNvCxnSpPr/>
            <p:nvPr/>
          </p:nvCxnSpPr>
          <p:spPr bwMode="auto">
            <a:xfrm rot="20464718" flipH="1" flipV="1">
              <a:off x="4102720" y="5351302"/>
              <a:ext cx="573843" cy="19493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Прямая соединительная линия 85"/>
            <p:cNvCxnSpPr/>
            <p:nvPr/>
          </p:nvCxnSpPr>
          <p:spPr bwMode="auto">
            <a:xfrm rot="10800000">
              <a:off x="4157021" y="1382029"/>
              <a:ext cx="55626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8" name="TextBox 87"/>
            <p:cNvSpPr txBox="1"/>
            <p:nvPr/>
          </p:nvSpPr>
          <p:spPr>
            <a:xfrm rot="16200000">
              <a:off x="3692798" y="3262909"/>
              <a:ext cx="48681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ru-RU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660 мм</a:t>
              </a:r>
            </a:p>
          </p:txBody>
        </p:sp>
      </p:grpSp>
      <p:grpSp>
        <p:nvGrpSpPr>
          <p:cNvPr id="92" name="Группа 91"/>
          <p:cNvGrpSpPr/>
          <p:nvPr/>
        </p:nvGrpSpPr>
        <p:grpSpPr>
          <a:xfrm rot="1135282">
            <a:off x="1324556" y="1097570"/>
            <a:ext cx="870904" cy="4279672"/>
            <a:chOff x="3843872" y="1382029"/>
            <a:chExt cx="870904" cy="4070581"/>
          </a:xfrm>
        </p:grpSpPr>
        <p:cxnSp>
          <p:nvCxnSpPr>
            <p:cNvPr id="93" name="Прямая со стрелкой 92"/>
            <p:cNvCxnSpPr/>
            <p:nvPr/>
          </p:nvCxnSpPr>
          <p:spPr bwMode="auto">
            <a:xfrm rot="5400000">
              <a:off x="2198980" y="3372101"/>
              <a:ext cx="3942315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Прямая соединительная линия 93"/>
            <p:cNvCxnSpPr/>
            <p:nvPr/>
          </p:nvCxnSpPr>
          <p:spPr bwMode="auto">
            <a:xfrm rot="20464718" flipH="1" flipV="1">
              <a:off x="4173646" y="5268791"/>
              <a:ext cx="541130" cy="18381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Прямая соединительная линия 96"/>
            <p:cNvCxnSpPr/>
            <p:nvPr/>
          </p:nvCxnSpPr>
          <p:spPr bwMode="auto">
            <a:xfrm rot="10800000">
              <a:off x="4157021" y="1382029"/>
              <a:ext cx="55626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2" name="TextBox 101"/>
            <p:cNvSpPr txBox="1"/>
            <p:nvPr/>
          </p:nvSpPr>
          <p:spPr>
            <a:xfrm rot="16200000">
              <a:off x="3693780" y="3262909"/>
              <a:ext cx="48485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ru-RU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641 мм</a:t>
              </a:r>
            </a:p>
          </p:txBody>
        </p:sp>
      </p:grpSp>
      <p:sp>
        <p:nvSpPr>
          <p:cNvPr id="56" name="Прямоугольник 55"/>
          <p:cNvSpPr/>
          <p:nvPr/>
        </p:nvSpPr>
        <p:spPr>
          <a:xfrm>
            <a:off x="5352129" y="1728543"/>
            <a:ext cx="645894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412 мм </a:t>
            </a:r>
            <a:r>
              <a:rPr lang="ru-RU" sz="2000" dirty="0">
                <a:solidFill>
                  <a:srgbClr val="000000"/>
                </a:solidFill>
                <a:latin typeface="Roboto"/>
              </a:rPr>
              <a:t>между камерами </a:t>
            </a:r>
            <a:endParaRPr lang="ru-RU" sz="2000" dirty="0" smtClean="0">
              <a:solidFill>
                <a:srgbClr val="000000"/>
              </a:solidFill>
              <a:latin typeface="Roboto"/>
            </a:endParaRP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639 мм </a:t>
            </a:r>
            <a:r>
              <a:rPr lang="ru-RU" sz="2000" dirty="0">
                <a:solidFill>
                  <a:srgbClr val="000000"/>
                </a:solidFill>
                <a:latin typeface="Roboto"/>
              </a:rPr>
              <a:t>от центра </a:t>
            </a: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между камерами до </a:t>
            </a:r>
            <a:r>
              <a:rPr lang="ru-RU" sz="2000" dirty="0">
                <a:solidFill>
                  <a:srgbClr val="000000"/>
                </a:solidFill>
                <a:latin typeface="Roboto"/>
              </a:rPr>
              <a:t>объекта </a:t>
            </a: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измерения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660 </a:t>
            </a:r>
            <a:r>
              <a:rPr lang="ru-RU" sz="2000" dirty="0">
                <a:solidFill>
                  <a:srgbClr val="000000"/>
                </a:solidFill>
                <a:latin typeface="Roboto"/>
              </a:rPr>
              <a:t>мм </a:t>
            </a: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от камеры </a:t>
            </a: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1 до </a:t>
            </a: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объекта измерения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641 мм от камеры </a:t>
            </a:r>
            <a:r>
              <a:rPr lang="ru-RU" sz="2000" dirty="0" smtClean="0">
                <a:solidFill>
                  <a:srgbClr val="000000"/>
                </a:solidFill>
                <a:latin typeface="Roboto"/>
              </a:rPr>
              <a:t>2 </a:t>
            </a:r>
            <a:r>
              <a:rPr lang="ru-RU" sz="2000" dirty="0">
                <a:solidFill>
                  <a:srgbClr val="000000"/>
                </a:solidFill>
                <a:latin typeface="Roboto"/>
              </a:rPr>
              <a:t>до объекта измерения</a:t>
            </a:r>
          </a:p>
        </p:txBody>
      </p:sp>
      <p:cxnSp>
        <p:nvCxnSpPr>
          <p:cNvPr id="63" name="Прямая соединительная линия 62"/>
          <p:cNvCxnSpPr>
            <a:stCxn id="25" idx="0"/>
            <a:endCxn id="21" idx="0"/>
          </p:cNvCxnSpPr>
          <p:nvPr/>
        </p:nvCxnSpPr>
        <p:spPr bwMode="auto">
          <a:xfrm>
            <a:off x="1505895" y="5328956"/>
            <a:ext cx="2739412" cy="532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" name="Прямая соединительная линия 105"/>
          <p:cNvCxnSpPr/>
          <p:nvPr/>
        </p:nvCxnSpPr>
        <p:spPr bwMode="auto">
          <a:xfrm flipV="1">
            <a:off x="2175328" y="5196417"/>
            <a:ext cx="5104" cy="2526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1" name="Прямая соединительная линия 110"/>
          <p:cNvCxnSpPr/>
          <p:nvPr/>
        </p:nvCxnSpPr>
        <p:spPr bwMode="auto">
          <a:xfrm flipV="1">
            <a:off x="3532042" y="5241537"/>
            <a:ext cx="5104" cy="2526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591791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A9DF01C-8921-D0A6-FC6D-D26D74E22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114" name="Заголовок 2"/>
          <p:cNvSpPr txBox="1">
            <a:spLocks/>
          </p:cNvSpPr>
          <p:nvPr/>
        </p:nvSpPr>
        <p:spPr>
          <a:xfrm>
            <a:off x="421930" y="372021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61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2pPr>
            <a:lvl3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3pPr>
            <a:lvl4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4pPr>
            <a:lvl5pPr algn="l" defTabSz="883661" rtl="0" eaLnBrk="0" fontAlgn="base" hangingPunct="0">
              <a:spcBef>
                <a:spcPct val="0"/>
              </a:spcBef>
              <a:spcAft>
                <a:spcPct val="0"/>
              </a:spcAft>
              <a:defRPr sz="1845" i="1">
                <a:solidFill>
                  <a:srgbClr val="00579C"/>
                </a:solidFill>
                <a:latin typeface="Arial" charset="0"/>
              </a:defRPr>
            </a:lvl5pPr>
            <a:lvl6pPr marL="42204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94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40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86" algn="l" defTabSz="883661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dirty="0" smtClean="0"/>
              <a:t>Примеры с</a:t>
            </a:r>
            <a:r>
              <a:rPr lang="ru-RU" dirty="0" smtClean="0">
                <a:solidFill>
                  <a:srgbClr val="002060"/>
                </a:solidFill>
              </a:rPr>
              <a:t>тереоскопических </a:t>
            </a:r>
            <a:r>
              <a:rPr lang="ru-RU" dirty="0">
                <a:solidFill>
                  <a:srgbClr val="002060"/>
                </a:solidFill>
              </a:rPr>
              <a:t>3</a:t>
            </a:r>
            <a:r>
              <a:rPr lang="en-US" dirty="0">
                <a:solidFill>
                  <a:srgbClr val="002060"/>
                </a:solidFill>
              </a:rPr>
              <a:t>D </a:t>
            </a:r>
            <a:r>
              <a:rPr lang="ru-RU" dirty="0" smtClean="0">
                <a:solidFill>
                  <a:srgbClr val="002060"/>
                </a:solidFill>
              </a:rPr>
              <a:t>сканеров</a:t>
            </a:r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7" name="Picture 2" descr="Сканер 3D - ATOS 5 - GOM - для измерений / оптический / высокоскоростной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3" t="7965" r="7129" b="9051"/>
          <a:stretch/>
        </p:blipFill>
        <p:spPr bwMode="auto">
          <a:xfrm>
            <a:off x="4249568" y="1988503"/>
            <a:ext cx="3438579" cy="156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07988" y="836281"/>
            <a:ext cx="48105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en-US" b="1" dirty="0" smtClean="0">
              <a:solidFill>
                <a:srgbClr val="002060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1432108"/>
              </p:ext>
            </p:extLst>
          </p:nvPr>
        </p:nvGraphicFramePr>
        <p:xfrm>
          <a:off x="645906" y="4278395"/>
          <a:ext cx="2850920" cy="1874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5671">
                  <a:extLst>
                    <a:ext uri="{9D8B030D-6E8A-4147-A177-3AD203B41FA5}">
                      <a16:colId xmlns:a16="http://schemas.microsoft.com/office/drawing/2014/main" val="2736645740"/>
                    </a:ext>
                  </a:extLst>
                </a:gridCol>
                <a:gridCol w="1175249">
                  <a:extLst>
                    <a:ext uri="{9D8B030D-6E8A-4147-A177-3AD203B41FA5}">
                      <a16:colId xmlns:a16="http://schemas.microsoft.com/office/drawing/2014/main" val="3354675874"/>
                    </a:ext>
                  </a:extLst>
                </a:gridCol>
              </a:tblGrid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Vision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IME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2 790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8471765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Vision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1 690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985420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Vision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 Base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1 690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6561991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Vision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 II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1 890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524049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Vision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pectrum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365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2446797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Vision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eo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195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6297681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9189800"/>
              </p:ext>
            </p:extLst>
          </p:nvPr>
        </p:nvGraphicFramePr>
        <p:xfrm>
          <a:off x="4646713" y="4278395"/>
          <a:ext cx="2644286" cy="624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6181">
                  <a:extLst>
                    <a:ext uri="{9D8B030D-6E8A-4147-A177-3AD203B41FA5}">
                      <a16:colId xmlns:a16="http://schemas.microsoft.com/office/drawing/2014/main" val="2338222249"/>
                    </a:ext>
                  </a:extLst>
                </a:gridCol>
                <a:gridCol w="1408105">
                  <a:extLst>
                    <a:ext uri="{9D8B030D-6E8A-4147-A177-3AD203B41FA5}">
                      <a16:colId xmlns:a16="http://schemas.microsoft.com/office/drawing/2014/main" val="2206173546"/>
                    </a:ext>
                  </a:extLst>
                </a:gridCol>
              </a:tblGrid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M ATOS 5/5x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 </a:t>
                      </a:r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264452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M ATOS Q</a:t>
                      </a: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</a:t>
                      </a:r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2576079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341"/>
              </p:ext>
            </p:extLst>
          </p:nvPr>
        </p:nvGraphicFramePr>
        <p:xfrm>
          <a:off x="8510379" y="4278395"/>
          <a:ext cx="2523477" cy="2844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7239">
                  <a:extLst>
                    <a:ext uri="{9D8B030D-6E8A-4147-A177-3AD203B41FA5}">
                      <a16:colId xmlns:a16="http://schemas.microsoft.com/office/drawing/2014/main" val="1416498607"/>
                    </a:ext>
                  </a:extLst>
                </a:gridCol>
                <a:gridCol w="1296238">
                  <a:extLst>
                    <a:ext uri="{9D8B030D-6E8A-4147-A177-3AD203B41FA5}">
                      <a16:colId xmlns:a16="http://schemas.microsoft.com/office/drawing/2014/main" val="121892213"/>
                    </a:ext>
                  </a:extLst>
                </a:gridCol>
              </a:tblGrid>
              <a:tr h="284436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con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meScan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7 000 </a:t>
                      </a:r>
                      <a:r>
                        <a:rPr lang="ru-RU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0 руб.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7877247"/>
                  </a:ext>
                </a:extLst>
              </a:tr>
            </a:tbl>
          </a:graphicData>
        </a:graphic>
      </p:graphicFrame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/>
          <a:srcRect t="22930" b="4318"/>
          <a:stretch/>
        </p:blipFill>
        <p:spPr>
          <a:xfrm>
            <a:off x="720148" y="1868156"/>
            <a:ext cx="3039549" cy="2203704"/>
          </a:xfrm>
          <a:prstGeom prst="rect">
            <a:avLst/>
          </a:prstGeom>
        </p:spPr>
      </p:pic>
      <p:pic>
        <p:nvPicPr>
          <p:cNvPr id="1032" name="Picture 8" descr="https://3dcontrol.ru/storage/upload/Catalog/52/images/aykon-1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80" t="11424" r="11275" b="18421"/>
          <a:stretch/>
        </p:blipFill>
        <p:spPr bwMode="auto">
          <a:xfrm>
            <a:off x="8178018" y="1579029"/>
            <a:ext cx="3188200" cy="2492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Текст 3">
            <a:extLst>
              <a:ext uri="{FF2B5EF4-FFF2-40B4-BE49-F238E27FC236}">
                <a16:creationId xmlns:a16="http://schemas.microsoft.com/office/drawing/2014/main" id="{45D82FEC-60C1-0856-D178-FCC7BC785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20538" y="6595989"/>
            <a:ext cx="863476" cy="161711"/>
          </a:xfrm>
        </p:spPr>
        <p:txBody>
          <a:bodyPr/>
          <a:lstStyle/>
          <a:p>
            <a:r>
              <a:rPr lang="ru-RU" dirty="0" smtClean="0"/>
              <a:t>19.07</a:t>
            </a:r>
            <a:r>
              <a:rPr lang="en-US" dirty="0" smtClean="0"/>
              <a:t>.2024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45905" y="1088135"/>
            <a:ext cx="3113789" cy="417785"/>
          </a:xfrm>
          <a:prstGeom prst="rect">
            <a:avLst/>
          </a:prstGeom>
          <a:solidFill>
            <a:srgbClr val="D3E6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defTabSz="895350">
              <a:buClr>
                <a:srgbClr val="FF0000"/>
              </a:buClr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Range vision</a:t>
            </a:r>
            <a:endParaRPr lang="ru-RU" sz="1200" b="1" dirty="0">
              <a:solidFill>
                <a:schemeClr val="tx2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>
            <a:off x="645905" y="1067656"/>
            <a:ext cx="311378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Прямоугольник 14"/>
          <p:cNvSpPr/>
          <p:nvPr/>
        </p:nvSpPr>
        <p:spPr>
          <a:xfrm>
            <a:off x="4249567" y="1093315"/>
            <a:ext cx="3438579" cy="417785"/>
          </a:xfrm>
          <a:prstGeom prst="rect">
            <a:avLst/>
          </a:prstGeom>
          <a:solidFill>
            <a:srgbClr val="D3E6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defTabSz="895350">
              <a:buClr>
                <a:srgbClr val="FF0000"/>
              </a:buClr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Zeiss/GOM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178018" y="1088135"/>
            <a:ext cx="3188200" cy="417785"/>
          </a:xfrm>
          <a:prstGeom prst="rect">
            <a:avLst/>
          </a:prstGeom>
          <a:solidFill>
            <a:srgbClr val="D3E6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defTabSz="895350">
              <a:buClr>
                <a:srgbClr val="FF0000"/>
              </a:buClr>
              <a:defRPr/>
            </a:pPr>
            <a:r>
              <a:rPr lang="en-US" sz="1200" b="1" dirty="0" smtClean="0">
                <a:solidFill>
                  <a:schemeClr val="tx2"/>
                </a:solidFill>
              </a:rPr>
              <a:t>Hexagon/</a:t>
            </a:r>
            <a:r>
              <a:rPr lang="en-US" sz="1200" b="1" dirty="0" err="1" smtClean="0">
                <a:solidFill>
                  <a:schemeClr val="tx2"/>
                </a:solidFill>
              </a:rPr>
              <a:t>Aicon</a:t>
            </a:r>
            <a:endParaRPr lang="ru-RU" sz="1200" b="1" dirty="0">
              <a:solidFill>
                <a:schemeClr val="tx2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 bwMode="auto">
          <a:xfrm>
            <a:off x="4249567" y="1079789"/>
            <a:ext cx="343857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единительная линия 18"/>
          <p:cNvCxnSpPr/>
          <p:nvPr/>
        </p:nvCxnSpPr>
        <p:spPr bwMode="auto">
          <a:xfrm>
            <a:off x="8178018" y="1067656"/>
            <a:ext cx="3188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88111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SnbzgTF64PbGPnlHVfg"/>
</p:tagLst>
</file>

<file path=ppt/theme/theme1.xml><?xml version="1.0" encoding="utf-8"?>
<a:theme xmlns:a="http://schemas.openxmlformats.org/drawingml/2006/main" name="Severstal_new">
  <a:themeElements>
    <a:clrScheme name="Другая 106">
      <a:dk1>
        <a:srgbClr val="000000"/>
      </a:dk1>
      <a:lt1>
        <a:srgbClr val="FFFFFF"/>
      </a:lt1>
      <a:dk2>
        <a:srgbClr val="002F6C"/>
      </a:dk2>
      <a:lt2>
        <a:srgbClr val="909090"/>
      </a:lt2>
      <a:accent1>
        <a:srgbClr val="FF0000"/>
      </a:accent1>
      <a:accent2>
        <a:srgbClr val="001E46"/>
      </a:accent2>
      <a:accent3>
        <a:srgbClr val="6F263D"/>
      </a:accent3>
      <a:accent4>
        <a:srgbClr val="523178"/>
      </a:accent4>
      <a:accent5>
        <a:srgbClr val="00635B"/>
      </a:accent5>
      <a:accent6>
        <a:srgbClr val="696158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56</TotalTime>
  <Words>523</Words>
  <Application>Microsoft Office PowerPoint</Application>
  <PresentationFormat>Широкоэкранный</PresentationFormat>
  <Paragraphs>129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8" baseType="lpstr">
      <vt:lpstr>Aptos</vt:lpstr>
      <vt:lpstr>Arial</vt:lpstr>
      <vt:lpstr>Calibri</vt:lpstr>
      <vt:lpstr>FS Severstal</vt:lpstr>
      <vt:lpstr>Roboto</vt:lpstr>
      <vt:lpstr>Times New Roman</vt:lpstr>
      <vt:lpstr>Wingdings</vt:lpstr>
      <vt:lpstr>Severstal_new</vt:lpstr>
      <vt:lpstr>Acrobat Docume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оман Чупин</dc:creator>
  <cp:lastModifiedBy>Никитин Александр Валерьевич</cp:lastModifiedBy>
  <cp:revision>428</cp:revision>
  <dcterms:created xsi:type="dcterms:W3CDTF">2024-07-12T04:49:09Z</dcterms:created>
  <dcterms:modified xsi:type="dcterms:W3CDTF">2024-09-04T18:04:54Z</dcterms:modified>
</cp:coreProperties>
</file>